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1.xml" ContentType="application/vnd.openxmlformats-officedocument.presentationml.tags+xml"/>
  <Override PartName="/ppt/notesSlides/notesSlide19.xml" ContentType="application/vnd.openxmlformats-officedocument.presentationml.notesSlide+xml"/>
  <Override PartName="/ppt/tags/tag4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tags/tag44.xml" ContentType="application/vnd.openxmlformats-officedocument.presentationml.tags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  <p:sldMasterId id="2147483817" r:id="rId5"/>
    <p:sldMasterId id="2147483832" r:id="rId6"/>
    <p:sldMasterId id="2147483882" r:id="rId7"/>
  </p:sldMasterIdLst>
  <p:notesMasterIdLst>
    <p:notesMasterId r:id="rId45"/>
  </p:notesMasterIdLst>
  <p:handoutMasterIdLst>
    <p:handoutMasterId r:id="rId46"/>
  </p:handoutMasterIdLst>
  <p:sldIdLst>
    <p:sldId id="8651" r:id="rId8"/>
    <p:sldId id="257" r:id="rId9"/>
    <p:sldId id="8652" r:id="rId10"/>
    <p:sldId id="8645" r:id="rId11"/>
    <p:sldId id="8823" r:id="rId12"/>
    <p:sldId id="8830" r:id="rId13"/>
    <p:sldId id="8556" r:id="rId14"/>
    <p:sldId id="8826" r:id="rId15"/>
    <p:sldId id="8648" r:id="rId16"/>
    <p:sldId id="8839" r:id="rId17"/>
    <p:sldId id="8840" r:id="rId18"/>
    <p:sldId id="590" r:id="rId19"/>
    <p:sldId id="8842" r:id="rId20"/>
    <p:sldId id="273" r:id="rId21"/>
    <p:sldId id="8841" r:id="rId22"/>
    <p:sldId id="414" r:id="rId23"/>
    <p:sldId id="530" r:id="rId24"/>
    <p:sldId id="8829" r:id="rId25"/>
    <p:sldId id="8847" r:id="rId26"/>
    <p:sldId id="8848" r:id="rId27"/>
    <p:sldId id="8846" r:id="rId28"/>
    <p:sldId id="8827" r:id="rId29"/>
    <p:sldId id="278" r:id="rId30"/>
    <p:sldId id="279" r:id="rId31"/>
    <p:sldId id="8646" r:id="rId32"/>
    <p:sldId id="286" r:id="rId33"/>
    <p:sldId id="301" r:id="rId34"/>
    <p:sldId id="8745" r:id="rId35"/>
    <p:sldId id="8809" r:id="rId36"/>
    <p:sldId id="8837" r:id="rId37"/>
    <p:sldId id="8845" r:id="rId38"/>
    <p:sldId id="8844" r:id="rId39"/>
    <p:sldId id="8843" r:id="rId40"/>
    <p:sldId id="8824" r:id="rId41"/>
    <p:sldId id="600" r:id="rId42"/>
    <p:sldId id="8850" r:id="rId43"/>
    <p:sldId id="8849" r:id="rId44"/>
  </p:sldIdLst>
  <p:sldSz cx="12192000" cy="6858000"/>
  <p:notesSz cx="9144000" cy="6858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ickey, Claudette" initials="HC" lastIdx="10" clrIdx="0">
    <p:extLst>
      <p:ext uri="{19B8F6BF-5375-455C-9EA6-DF929625EA0E}">
        <p15:presenceInfo xmlns:p15="http://schemas.microsoft.com/office/powerpoint/2012/main" userId="S::HickeyC@aetna.com::71e19957-b843-4df7-8271-6169398ba655" providerId="AD"/>
      </p:ext>
    </p:extLst>
  </p:cmAuthor>
  <p:cmAuthor id="2" name="Pierce, John A" initials="PJA" lastIdx="6" clrIdx="1">
    <p:extLst>
      <p:ext uri="{19B8F6BF-5375-455C-9EA6-DF929625EA0E}">
        <p15:presenceInfo xmlns:p15="http://schemas.microsoft.com/office/powerpoint/2012/main" userId="S::PierceJA@aetna.com::b4d1c5e8-ca36-45fe-bf6e-52e4864f9769" providerId="AD"/>
      </p:ext>
    </p:extLst>
  </p:cmAuthor>
  <p:cmAuthor id="3" name="O'dell, Jeffrey S" initials="OS" lastIdx="6" clrIdx="2">
    <p:extLst>
      <p:ext uri="{19B8F6BF-5375-455C-9EA6-DF929625EA0E}">
        <p15:presenceInfo xmlns:p15="http://schemas.microsoft.com/office/powerpoint/2012/main" userId="S::odellj@aetna.com::e674738b-0bb2-4633-ab20-f1736b463ee2" providerId="AD"/>
      </p:ext>
    </p:extLst>
  </p:cmAuthor>
  <p:cmAuthor id="4" name="Ianni, Dale J" initials="IJ" lastIdx="2" clrIdx="3">
    <p:extLst>
      <p:ext uri="{19B8F6BF-5375-455C-9EA6-DF929625EA0E}">
        <p15:presenceInfo xmlns:p15="http://schemas.microsoft.com/office/powerpoint/2012/main" userId="S::iannid@aetna.com::bda53e1e-c39b-4257-90bb-cd1101aa3a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8E"/>
    <a:srgbClr val="00859B"/>
    <a:srgbClr val="A69FFB"/>
    <a:srgbClr val="7F7F7F"/>
    <a:srgbClr val="D00000"/>
    <a:srgbClr val="D9D9D9"/>
    <a:srgbClr val="A40000"/>
    <a:srgbClr val="FF1D1D"/>
    <a:srgbClr val="FAFAFA"/>
    <a:srgbClr val="F2F2F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4AE1D4-1461-4A95-8A14-C6B4A580CC86}" v="14" dt="2020-06-12T15:39:15.6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notesMaster" Target="notesMasters/notesMaster1.xml"/><Relationship Id="rId53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commentAuthors" Target="commentAuthors.xml"/><Relationship Id="rId8" Type="http://schemas.openxmlformats.org/officeDocument/2006/relationships/slide" Target="slides/slide1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ickey, Claudette" userId="S::hickeyc@aetna.com::71e19957-b843-4df7-8271-6169398ba655" providerId="AD" clId="Web-{C099DEC2-1640-EDE9-4FA5-B3E2E6BE4D5F}"/>
    <pc:docChg chg="modSld">
      <pc:chgData name="Hickey, Claudette" userId="S::hickeyc@aetna.com::71e19957-b843-4df7-8271-6169398ba655" providerId="AD" clId="Web-{C099DEC2-1640-EDE9-4FA5-B3E2E6BE4D5F}" dt="2020-05-19T13:48:58.479" v="1" actId="20577"/>
      <pc:docMkLst>
        <pc:docMk/>
      </pc:docMkLst>
      <pc:sldChg chg="modSp">
        <pc:chgData name="Hickey, Claudette" userId="S::hickeyc@aetna.com::71e19957-b843-4df7-8271-6169398ba655" providerId="AD" clId="Web-{C099DEC2-1640-EDE9-4FA5-B3E2E6BE4D5F}" dt="2020-05-19T13:48:58.479" v="1" actId="20577"/>
        <pc:sldMkLst>
          <pc:docMk/>
          <pc:sldMk cId="4169436587" sldId="8823"/>
        </pc:sldMkLst>
        <pc:spChg chg="mod">
          <ac:chgData name="Hickey, Claudette" userId="S::hickeyc@aetna.com::71e19957-b843-4df7-8271-6169398ba655" providerId="AD" clId="Web-{C099DEC2-1640-EDE9-4FA5-B3E2E6BE4D5F}" dt="2020-05-19T13:48:58.479" v="1" actId="20577"/>
          <ac:spMkLst>
            <pc:docMk/>
            <pc:sldMk cId="4169436587" sldId="8823"/>
            <ac:spMk id="23" creationId="{E428F22F-9263-4961-A846-941A98BEC3DF}"/>
          </ac:spMkLst>
        </pc:spChg>
      </pc:sldChg>
    </pc:docChg>
  </pc:docChgLst>
  <pc:docChgLst>
    <pc:chgData name="Pierce, John A" userId="S::pierceja@aetna.com::b4d1c5e8-ca36-45fe-bf6e-52e4864f9769" providerId="AD" clId="Web-{77315E0F-F12A-5F7A-6EA5-9E352B886A94}"/>
    <pc:docChg chg="modSld">
      <pc:chgData name="Pierce, John A" userId="S::pierceja@aetna.com::b4d1c5e8-ca36-45fe-bf6e-52e4864f9769" providerId="AD" clId="Web-{77315E0F-F12A-5F7A-6EA5-9E352B886A94}" dt="2020-06-05T17:29:37.004" v="97"/>
      <pc:docMkLst>
        <pc:docMk/>
      </pc:docMkLst>
      <pc:sldChg chg="modSp">
        <pc:chgData name="Pierce, John A" userId="S::pierceja@aetna.com::b4d1c5e8-ca36-45fe-bf6e-52e4864f9769" providerId="AD" clId="Web-{77315E0F-F12A-5F7A-6EA5-9E352B886A94}" dt="2020-06-05T17:29:37.004" v="97"/>
        <pc:sldMkLst>
          <pc:docMk/>
          <pc:sldMk cId="2359021509" sldId="8847"/>
        </pc:sldMkLst>
        <pc:graphicFrameChg chg="mod modGraphic">
          <ac:chgData name="Pierce, John A" userId="S::pierceja@aetna.com::b4d1c5e8-ca36-45fe-bf6e-52e4864f9769" providerId="AD" clId="Web-{77315E0F-F12A-5F7A-6EA5-9E352B886A94}" dt="2020-06-05T17:29:37.004" v="97"/>
          <ac:graphicFrameMkLst>
            <pc:docMk/>
            <pc:sldMk cId="2359021509" sldId="8847"/>
            <ac:graphicFrameMk id="14" creationId="{AA6C824F-C5FF-485F-ABA0-609797DA18FE}"/>
          </ac:graphicFrameMkLst>
        </pc:graphicFrameChg>
      </pc:sldChg>
    </pc:docChg>
  </pc:docChgLst>
  <pc:docChgLst>
    <pc:chgData name="Hickey, Claudette" userId="S::hickeyc@aetna.com::71e19957-b843-4df7-8271-6169398ba655" providerId="AD" clId="Web-{75F2F412-14C3-3FA1-C1A2-A1ECD45027E0}"/>
    <pc:docChg chg="modSld">
      <pc:chgData name="Hickey, Claudette" userId="S::hickeyc@aetna.com::71e19957-b843-4df7-8271-6169398ba655" providerId="AD" clId="Web-{75F2F412-14C3-3FA1-C1A2-A1ECD45027E0}" dt="2020-05-14T12:57:02.835" v="3" actId="20577"/>
      <pc:docMkLst>
        <pc:docMk/>
      </pc:docMkLst>
      <pc:sldChg chg="modSp">
        <pc:chgData name="Hickey, Claudette" userId="S::hickeyc@aetna.com::71e19957-b843-4df7-8271-6169398ba655" providerId="AD" clId="Web-{75F2F412-14C3-3FA1-C1A2-A1ECD45027E0}" dt="2020-05-14T12:57:02.835" v="3" actId="20577"/>
        <pc:sldMkLst>
          <pc:docMk/>
          <pc:sldMk cId="126064161" sldId="530"/>
        </pc:sldMkLst>
        <pc:spChg chg="mod">
          <ac:chgData name="Hickey, Claudette" userId="S::hickeyc@aetna.com::71e19957-b843-4df7-8271-6169398ba655" providerId="AD" clId="Web-{75F2F412-14C3-3FA1-C1A2-A1ECD45027E0}" dt="2020-05-14T12:57:02.835" v="3" actId="20577"/>
          <ac:spMkLst>
            <pc:docMk/>
            <pc:sldMk cId="126064161" sldId="530"/>
            <ac:spMk id="34" creationId="{D716BCFE-6C70-4FBD-9DD1-26BBAD42FA3D}"/>
          </ac:spMkLst>
        </pc:spChg>
      </pc:sldChg>
    </pc:docChg>
  </pc:docChgLst>
  <pc:docChgLst>
    <pc:chgData name="Hickey, Claudette" userId="71e19957-b843-4df7-8271-6169398ba655" providerId="ADAL" clId="{DC468F0E-7D42-4A5F-9013-08FCF7296CE6}"/>
    <pc:docChg chg="undo custSel delSld modSld">
      <pc:chgData name="Hickey, Claudette" userId="71e19957-b843-4df7-8271-6169398ba655" providerId="ADAL" clId="{DC468F0E-7D42-4A5F-9013-08FCF7296CE6}" dt="2020-05-06T13:23:37.718" v="176" actId="20577"/>
      <pc:docMkLst>
        <pc:docMk/>
      </pc:docMkLst>
      <pc:sldChg chg="del">
        <pc:chgData name="Hickey, Claudette" userId="71e19957-b843-4df7-8271-6169398ba655" providerId="ADAL" clId="{DC468F0E-7D42-4A5F-9013-08FCF7296CE6}" dt="2020-05-06T13:23:06.292" v="156" actId="47"/>
        <pc:sldMkLst>
          <pc:docMk/>
          <pc:sldMk cId="310597355" sldId="275"/>
        </pc:sldMkLst>
      </pc:sldChg>
      <pc:sldChg chg="modSp mod">
        <pc:chgData name="Hickey, Claudette" userId="71e19957-b843-4df7-8271-6169398ba655" providerId="ADAL" clId="{DC468F0E-7D42-4A5F-9013-08FCF7296CE6}" dt="2020-05-05T18:49:22.146" v="125" actId="20577"/>
        <pc:sldMkLst>
          <pc:docMk/>
          <pc:sldMk cId="126064161" sldId="530"/>
        </pc:sldMkLst>
        <pc:spChg chg="mod">
          <ac:chgData name="Hickey, Claudette" userId="71e19957-b843-4df7-8271-6169398ba655" providerId="ADAL" clId="{DC468F0E-7D42-4A5F-9013-08FCF7296CE6}" dt="2020-05-05T18:49:22.146" v="125" actId="20577"/>
          <ac:spMkLst>
            <pc:docMk/>
            <pc:sldMk cId="126064161" sldId="530"/>
            <ac:spMk id="2" creationId="{5D1CC762-5536-4117-9F35-3016AA457011}"/>
          </ac:spMkLst>
        </pc:spChg>
      </pc:sldChg>
      <pc:sldChg chg="del">
        <pc:chgData name="Hickey, Claudette" userId="71e19957-b843-4df7-8271-6169398ba655" providerId="ADAL" clId="{DC468F0E-7D42-4A5F-9013-08FCF7296CE6}" dt="2020-05-06T13:22:59.556" v="155" actId="47"/>
        <pc:sldMkLst>
          <pc:docMk/>
          <pc:sldMk cId="524217346" sldId="8559"/>
        </pc:sldMkLst>
      </pc:sldChg>
      <pc:sldChg chg="modSp mod">
        <pc:chgData name="Hickey, Claudette" userId="71e19957-b843-4df7-8271-6169398ba655" providerId="ADAL" clId="{DC468F0E-7D42-4A5F-9013-08FCF7296CE6}" dt="2020-05-06T13:23:37.718" v="176" actId="20577"/>
        <pc:sldMkLst>
          <pc:docMk/>
          <pc:sldMk cId="2290788384" sldId="8651"/>
        </pc:sldMkLst>
        <pc:spChg chg="mod">
          <ac:chgData name="Hickey, Claudette" userId="71e19957-b843-4df7-8271-6169398ba655" providerId="ADAL" clId="{DC468F0E-7D42-4A5F-9013-08FCF7296CE6}" dt="2020-05-06T13:23:37.718" v="176" actId="20577"/>
          <ac:spMkLst>
            <pc:docMk/>
            <pc:sldMk cId="2290788384" sldId="8651"/>
            <ac:spMk id="9" creationId="{D5FEEA7C-27B8-4ABB-9BBC-FBF6F2498B42}"/>
          </ac:spMkLst>
        </pc:spChg>
      </pc:sldChg>
      <pc:sldChg chg="del">
        <pc:chgData name="Hickey, Claudette" userId="71e19957-b843-4df7-8271-6169398ba655" providerId="ADAL" clId="{DC468F0E-7D42-4A5F-9013-08FCF7296CE6}" dt="2020-05-06T13:22:57.357" v="153" actId="47"/>
        <pc:sldMkLst>
          <pc:docMk/>
          <pc:sldMk cId="1779978920" sldId="8654"/>
        </pc:sldMkLst>
      </pc:sldChg>
      <pc:sldChg chg="modSp mod">
        <pc:chgData name="Hickey, Claudette" userId="71e19957-b843-4df7-8271-6169398ba655" providerId="ADAL" clId="{DC468F0E-7D42-4A5F-9013-08FCF7296CE6}" dt="2020-05-06T13:23:25.055" v="173" actId="20577"/>
        <pc:sldMkLst>
          <pc:docMk/>
          <pc:sldMk cId="3780276908" sldId="8824"/>
        </pc:sldMkLst>
        <pc:graphicFrameChg chg="modGraphic">
          <ac:chgData name="Hickey, Claudette" userId="71e19957-b843-4df7-8271-6169398ba655" providerId="ADAL" clId="{DC468F0E-7D42-4A5F-9013-08FCF7296CE6}" dt="2020-05-06T13:23:25.055" v="173" actId="20577"/>
          <ac:graphicFrameMkLst>
            <pc:docMk/>
            <pc:sldMk cId="3780276908" sldId="8824"/>
            <ac:graphicFrameMk id="5" creationId="{00000000-0000-0000-0000-000000000000}"/>
          </ac:graphicFrameMkLst>
        </pc:graphicFrameChg>
      </pc:sldChg>
      <pc:sldChg chg="del">
        <pc:chgData name="Hickey, Claudette" userId="71e19957-b843-4df7-8271-6169398ba655" providerId="ADAL" clId="{DC468F0E-7D42-4A5F-9013-08FCF7296CE6}" dt="2020-05-06T13:23:07.940" v="157" actId="47"/>
        <pc:sldMkLst>
          <pc:docMk/>
          <pc:sldMk cId="1889044018" sldId="8828"/>
        </pc:sldMkLst>
      </pc:sldChg>
      <pc:sldChg chg="modSp mod">
        <pc:chgData name="Hickey, Claudette" userId="71e19957-b843-4df7-8271-6169398ba655" providerId="ADAL" clId="{DC468F0E-7D42-4A5F-9013-08FCF7296CE6}" dt="2020-05-05T16:31:06.360" v="39" actId="20577"/>
        <pc:sldMkLst>
          <pc:docMk/>
          <pc:sldMk cId="410256699" sldId="8829"/>
        </pc:sldMkLst>
        <pc:spChg chg="mod">
          <ac:chgData name="Hickey, Claudette" userId="71e19957-b843-4df7-8271-6169398ba655" providerId="ADAL" clId="{DC468F0E-7D42-4A5F-9013-08FCF7296CE6}" dt="2020-05-05T16:31:06.360" v="39" actId="20577"/>
          <ac:spMkLst>
            <pc:docMk/>
            <pc:sldMk cId="410256699" sldId="8829"/>
            <ac:spMk id="3" creationId="{00000000-0000-0000-0000-000000000000}"/>
          </ac:spMkLst>
        </pc:spChg>
      </pc:sldChg>
      <pc:sldChg chg="modSp mod">
        <pc:chgData name="Hickey, Claudette" userId="71e19957-b843-4df7-8271-6169398ba655" providerId="ADAL" clId="{DC468F0E-7D42-4A5F-9013-08FCF7296CE6}" dt="2020-05-06T13:21:01.777" v="151" actId="20577"/>
        <pc:sldMkLst>
          <pc:docMk/>
          <pc:sldMk cId="3410172460" sldId="8830"/>
        </pc:sldMkLst>
        <pc:spChg chg="mod">
          <ac:chgData name="Hickey, Claudette" userId="71e19957-b843-4df7-8271-6169398ba655" providerId="ADAL" clId="{DC468F0E-7D42-4A5F-9013-08FCF7296CE6}" dt="2020-05-06T13:21:01.777" v="151" actId="20577"/>
          <ac:spMkLst>
            <pc:docMk/>
            <pc:sldMk cId="3410172460" sldId="8830"/>
            <ac:spMk id="4" creationId="{8268CF52-23F2-445E-A0A0-17F8EC21BCC0}"/>
          </ac:spMkLst>
        </pc:spChg>
      </pc:sldChg>
      <pc:sldChg chg="del">
        <pc:chgData name="Hickey, Claudette" userId="71e19957-b843-4df7-8271-6169398ba655" providerId="ADAL" clId="{DC468F0E-7D42-4A5F-9013-08FCF7296CE6}" dt="2020-05-06T13:22:53.397" v="152" actId="47"/>
        <pc:sldMkLst>
          <pc:docMk/>
          <pc:sldMk cId="1435827432" sldId="8832"/>
        </pc:sldMkLst>
      </pc:sldChg>
      <pc:sldChg chg="del">
        <pc:chgData name="Hickey, Claudette" userId="71e19957-b843-4df7-8271-6169398ba655" providerId="ADAL" clId="{DC468F0E-7D42-4A5F-9013-08FCF7296CE6}" dt="2020-05-06T13:22:58.352" v="154" actId="47"/>
        <pc:sldMkLst>
          <pc:docMk/>
          <pc:sldMk cId="820047296" sldId="8833"/>
        </pc:sldMkLst>
      </pc:sldChg>
      <pc:sldChg chg="modSp mod">
        <pc:chgData name="Hickey, Claudette" userId="71e19957-b843-4df7-8271-6169398ba655" providerId="ADAL" clId="{DC468F0E-7D42-4A5F-9013-08FCF7296CE6}" dt="2020-05-05T18:47:31.702" v="111" actId="20577"/>
        <pc:sldMkLst>
          <pc:docMk/>
          <pc:sldMk cId="2053569124" sldId="8841"/>
        </pc:sldMkLst>
        <pc:spChg chg="mod">
          <ac:chgData name="Hickey, Claudette" userId="71e19957-b843-4df7-8271-6169398ba655" providerId="ADAL" clId="{DC468F0E-7D42-4A5F-9013-08FCF7296CE6}" dt="2020-05-05T18:47:31.702" v="111" actId="20577"/>
          <ac:spMkLst>
            <pc:docMk/>
            <pc:sldMk cId="2053569124" sldId="8841"/>
            <ac:spMk id="35" creationId="{64228612-BE47-4409-94C4-34892472947F}"/>
          </ac:spMkLst>
        </pc:spChg>
      </pc:sldChg>
      <pc:sldChg chg="addSp delSp modSp mod">
        <pc:chgData name="Hickey, Claudette" userId="71e19957-b843-4df7-8271-6169398ba655" providerId="ADAL" clId="{DC468F0E-7D42-4A5F-9013-08FCF7296CE6}" dt="2020-05-05T18:40:05.694" v="66" actId="14100"/>
        <pc:sldMkLst>
          <pc:docMk/>
          <pc:sldMk cId="569716832" sldId="8842"/>
        </pc:sldMkLst>
        <pc:cxnChg chg="mod">
          <ac:chgData name="Hickey, Claudette" userId="71e19957-b843-4df7-8271-6169398ba655" providerId="ADAL" clId="{DC468F0E-7D42-4A5F-9013-08FCF7296CE6}" dt="2020-05-05T18:38:43.742" v="50" actId="14100"/>
          <ac:cxnSpMkLst>
            <pc:docMk/>
            <pc:sldMk cId="569716832" sldId="8842"/>
            <ac:cxnSpMk id="72" creationId="{66FADC21-CF80-4818-8D3B-AC9E1849D409}"/>
          </ac:cxnSpMkLst>
        </pc:cxnChg>
        <pc:cxnChg chg="add del mod">
          <ac:chgData name="Hickey, Claudette" userId="71e19957-b843-4df7-8271-6169398ba655" providerId="ADAL" clId="{DC468F0E-7D42-4A5F-9013-08FCF7296CE6}" dt="2020-05-05T18:38:45.981" v="53"/>
          <ac:cxnSpMkLst>
            <pc:docMk/>
            <pc:sldMk cId="569716832" sldId="8842"/>
            <ac:cxnSpMk id="73" creationId="{39BD73B6-6AA3-4D4B-97C7-0A8843452600}"/>
          </ac:cxnSpMkLst>
        </pc:cxnChg>
        <pc:cxnChg chg="add mod">
          <ac:chgData name="Hickey, Claudette" userId="71e19957-b843-4df7-8271-6169398ba655" providerId="ADAL" clId="{DC468F0E-7D42-4A5F-9013-08FCF7296CE6}" dt="2020-05-05T18:38:57.775" v="57" actId="14100"/>
          <ac:cxnSpMkLst>
            <pc:docMk/>
            <pc:sldMk cId="569716832" sldId="8842"/>
            <ac:cxnSpMk id="74" creationId="{820D8B5F-35F2-449F-A49A-45CC681D4D20}"/>
          </ac:cxnSpMkLst>
        </pc:cxnChg>
        <pc:cxnChg chg="add mod">
          <ac:chgData name="Hickey, Claudette" userId="71e19957-b843-4df7-8271-6169398ba655" providerId="ADAL" clId="{DC468F0E-7D42-4A5F-9013-08FCF7296CE6}" dt="2020-05-05T18:39:37.811" v="63" actId="14100"/>
          <ac:cxnSpMkLst>
            <pc:docMk/>
            <pc:sldMk cId="569716832" sldId="8842"/>
            <ac:cxnSpMk id="77" creationId="{A1915F7E-EC95-4406-A622-764B0509020D}"/>
          </ac:cxnSpMkLst>
        </pc:cxnChg>
        <pc:cxnChg chg="add mod">
          <ac:chgData name="Hickey, Claudette" userId="71e19957-b843-4df7-8271-6169398ba655" providerId="ADAL" clId="{DC468F0E-7D42-4A5F-9013-08FCF7296CE6}" dt="2020-05-05T18:40:05.694" v="66" actId="14100"/>
          <ac:cxnSpMkLst>
            <pc:docMk/>
            <pc:sldMk cId="569716832" sldId="8842"/>
            <ac:cxnSpMk id="80" creationId="{C156C9A1-3161-4BB9-A512-FD2B0E95DD6B}"/>
          </ac:cxnSpMkLst>
        </pc:cxnChg>
        <pc:cxnChg chg="mod">
          <ac:chgData name="Hickey, Claudette" userId="71e19957-b843-4df7-8271-6169398ba655" providerId="ADAL" clId="{DC468F0E-7D42-4A5F-9013-08FCF7296CE6}" dt="2020-05-05T18:39:16.050" v="60" actId="14100"/>
          <ac:cxnSpMkLst>
            <pc:docMk/>
            <pc:sldMk cId="569716832" sldId="8842"/>
            <ac:cxnSpMk id="85" creationId="{9EFB8728-AD4A-4FB7-86D8-FDC8C416FA6F}"/>
          </ac:cxnSpMkLst>
        </pc:cxnChg>
        <pc:cxnChg chg="add del mod">
          <ac:chgData name="Hickey, Claudette" userId="71e19957-b843-4df7-8271-6169398ba655" providerId="ADAL" clId="{DC468F0E-7D42-4A5F-9013-08FCF7296CE6}" dt="2020-05-05T18:38:46.774" v="54" actId="478"/>
          <ac:cxnSpMkLst>
            <pc:docMk/>
            <pc:sldMk cId="569716832" sldId="8842"/>
            <ac:cxnSpMk id="152" creationId="{C9B05210-CC75-4938-9D9D-A32DCBC7BD7B}"/>
          </ac:cxnSpMkLst>
        </pc:cxnChg>
        <pc:cxnChg chg="del mod">
          <ac:chgData name="Hickey, Claudette" userId="71e19957-b843-4df7-8271-6169398ba655" providerId="ADAL" clId="{DC468F0E-7D42-4A5F-9013-08FCF7296CE6}" dt="2020-05-05T18:38:03.865" v="44" actId="478"/>
          <ac:cxnSpMkLst>
            <pc:docMk/>
            <pc:sldMk cId="569716832" sldId="8842"/>
            <ac:cxnSpMk id="239" creationId="{D4539E18-2A30-4926-9C3B-AB2BBACBFA55}"/>
          </ac:cxnSpMkLst>
        </pc:cxnChg>
      </pc:sldChg>
    </pc:docChg>
  </pc:docChgLst>
  <pc:docChgLst>
    <pc:chgData name="Hickey, Claudette" userId="71e19957-b843-4df7-8271-6169398ba655" providerId="ADAL" clId="{605B0FEE-2EB4-435F-B688-8C9F892A82C3}"/>
    <pc:docChg chg="undo custSel addSld delSld modSld sldOrd">
      <pc:chgData name="Hickey, Claudette" userId="71e19957-b843-4df7-8271-6169398ba655" providerId="ADAL" clId="{605B0FEE-2EB4-435F-B688-8C9F892A82C3}" dt="2020-06-12T12:56:53.681" v="5243" actId="20577"/>
      <pc:docMkLst>
        <pc:docMk/>
      </pc:docMkLst>
      <pc:sldChg chg="modSp mod">
        <pc:chgData name="Hickey, Claudette" userId="71e19957-b843-4df7-8271-6169398ba655" providerId="ADAL" clId="{605B0FEE-2EB4-435F-B688-8C9F892A82C3}" dt="2020-06-11T13:55:59.662" v="5094" actId="20577"/>
        <pc:sldMkLst>
          <pc:docMk/>
          <pc:sldMk cId="315564378" sldId="301"/>
        </pc:sldMkLst>
        <pc:spChg chg="mod">
          <ac:chgData name="Hickey, Claudette" userId="71e19957-b843-4df7-8271-6169398ba655" providerId="ADAL" clId="{605B0FEE-2EB4-435F-B688-8C9F892A82C3}" dt="2020-06-11T13:55:59.662" v="5094" actId="20577"/>
          <ac:spMkLst>
            <pc:docMk/>
            <pc:sldMk cId="315564378" sldId="301"/>
            <ac:spMk id="2" creationId="{00000000-0000-0000-0000-000000000000}"/>
          </ac:spMkLst>
        </pc:spChg>
      </pc:sldChg>
      <pc:sldChg chg="add del">
        <pc:chgData name="Hickey, Claudette" userId="71e19957-b843-4df7-8271-6169398ba655" providerId="ADAL" clId="{605B0FEE-2EB4-435F-B688-8C9F892A82C3}" dt="2020-06-04T17:58:32.952" v="1684" actId="47"/>
        <pc:sldMkLst>
          <pc:docMk/>
          <pc:sldMk cId="457798198" sldId="657"/>
        </pc:sldMkLst>
      </pc:sldChg>
      <pc:sldChg chg="add del">
        <pc:chgData name="Hickey, Claudette" userId="71e19957-b843-4df7-8271-6169398ba655" providerId="ADAL" clId="{605B0FEE-2EB4-435F-B688-8C9F892A82C3}" dt="2020-06-04T17:58:34.229" v="1685" actId="47"/>
        <pc:sldMkLst>
          <pc:docMk/>
          <pc:sldMk cId="2887128768" sldId="658"/>
        </pc:sldMkLst>
      </pc:sldChg>
      <pc:sldChg chg="modSp mod">
        <pc:chgData name="Hickey, Claudette" userId="71e19957-b843-4df7-8271-6169398ba655" providerId="ADAL" clId="{605B0FEE-2EB4-435F-B688-8C9F892A82C3}" dt="2020-06-08T19:03:09.181" v="3035" actId="20577"/>
        <pc:sldMkLst>
          <pc:docMk/>
          <pc:sldMk cId="2290788384" sldId="8651"/>
        </pc:sldMkLst>
        <pc:spChg chg="mod">
          <ac:chgData name="Hickey, Claudette" userId="71e19957-b843-4df7-8271-6169398ba655" providerId="ADAL" clId="{605B0FEE-2EB4-435F-B688-8C9F892A82C3}" dt="2020-06-08T19:03:09.181" v="3035" actId="20577"/>
          <ac:spMkLst>
            <pc:docMk/>
            <pc:sldMk cId="2290788384" sldId="8651"/>
            <ac:spMk id="9" creationId="{D5FEEA7C-27B8-4ABB-9BBC-FBF6F2498B42}"/>
          </ac:spMkLst>
        </pc:spChg>
      </pc:sldChg>
      <pc:sldChg chg="modSp mod">
        <pc:chgData name="Hickey, Claudette" userId="71e19957-b843-4df7-8271-6169398ba655" providerId="ADAL" clId="{605B0FEE-2EB4-435F-B688-8C9F892A82C3}" dt="2020-06-04T20:32:07.136" v="1695" actId="20577"/>
        <pc:sldMkLst>
          <pc:docMk/>
          <pc:sldMk cId="3468477970" sldId="8745"/>
        </pc:sldMkLst>
        <pc:spChg chg="mod">
          <ac:chgData name="Hickey, Claudette" userId="71e19957-b843-4df7-8271-6169398ba655" providerId="ADAL" clId="{605B0FEE-2EB4-435F-B688-8C9F892A82C3}" dt="2020-06-04T20:31:52.815" v="1694" actId="20577"/>
          <ac:spMkLst>
            <pc:docMk/>
            <pc:sldMk cId="3468477970" sldId="8745"/>
            <ac:spMk id="2" creationId="{255E39E1-EB11-4AA4-B3F0-A2AB457DB8EA}"/>
          </ac:spMkLst>
        </pc:spChg>
        <pc:spChg chg="mod">
          <ac:chgData name="Hickey, Claudette" userId="71e19957-b843-4df7-8271-6169398ba655" providerId="ADAL" clId="{605B0FEE-2EB4-435F-B688-8C9F892A82C3}" dt="2020-06-04T20:32:07.136" v="1695" actId="20577"/>
          <ac:spMkLst>
            <pc:docMk/>
            <pc:sldMk cId="3468477970" sldId="8745"/>
            <ac:spMk id="73" creationId="{72DF4F19-2F7B-4C32-AC77-DED7EF60AB53}"/>
          </ac:spMkLst>
        </pc:spChg>
      </pc:sldChg>
      <pc:sldChg chg="modSp mod">
        <pc:chgData name="Hickey, Claudette" userId="71e19957-b843-4df7-8271-6169398ba655" providerId="ADAL" clId="{605B0FEE-2EB4-435F-B688-8C9F892A82C3}" dt="2020-06-12T12:56:53.681" v="5243" actId="20577"/>
        <pc:sldMkLst>
          <pc:docMk/>
          <pc:sldMk cId="3780276908" sldId="8824"/>
        </pc:sldMkLst>
        <pc:graphicFrameChg chg="modGraphic">
          <ac:chgData name="Hickey, Claudette" userId="71e19957-b843-4df7-8271-6169398ba655" providerId="ADAL" clId="{605B0FEE-2EB4-435F-B688-8C9F892A82C3}" dt="2020-06-12T12:56:53.681" v="5243" actId="20577"/>
          <ac:graphicFrameMkLst>
            <pc:docMk/>
            <pc:sldMk cId="3780276908" sldId="8824"/>
            <ac:graphicFrameMk id="5" creationId="{00000000-0000-0000-0000-000000000000}"/>
          </ac:graphicFrameMkLst>
        </pc:graphicFrameChg>
      </pc:sldChg>
      <pc:sldChg chg="addSp delSp modSp mod">
        <pc:chgData name="Hickey, Claudette" userId="71e19957-b843-4df7-8271-6169398ba655" providerId="ADAL" clId="{605B0FEE-2EB4-435F-B688-8C9F892A82C3}" dt="2020-06-04T13:56:44.541" v="861" actId="27309"/>
        <pc:sldMkLst>
          <pc:docMk/>
          <pc:sldMk cId="410256699" sldId="8829"/>
        </pc:sldMkLst>
        <pc:spChg chg="add mod">
          <ac:chgData name="Hickey, Claudette" userId="71e19957-b843-4df7-8271-6169398ba655" providerId="ADAL" clId="{605B0FEE-2EB4-435F-B688-8C9F892A82C3}" dt="2020-06-04T13:53:20.709" v="795" actId="1076"/>
          <ac:spMkLst>
            <pc:docMk/>
            <pc:sldMk cId="410256699" sldId="8829"/>
            <ac:spMk id="51" creationId="{DEDCD76A-C4A3-45A8-B4C6-186E7A5096A2}"/>
          </ac:spMkLst>
        </pc:spChg>
        <pc:spChg chg="mod">
          <ac:chgData name="Hickey, Claudette" userId="71e19957-b843-4df7-8271-6169398ba655" providerId="ADAL" clId="{605B0FEE-2EB4-435F-B688-8C9F892A82C3}" dt="2020-06-04T13:53:24.860" v="796" actId="1076"/>
          <ac:spMkLst>
            <pc:docMk/>
            <pc:sldMk cId="410256699" sldId="8829"/>
            <ac:spMk id="70" creationId="{25A224F6-9351-4ED8-9E99-203E1D89EE2D}"/>
          </ac:spMkLst>
        </pc:spChg>
        <pc:graphicFrameChg chg="add del modGraphic">
          <ac:chgData name="Hickey, Claudette" userId="71e19957-b843-4df7-8271-6169398ba655" providerId="ADAL" clId="{605B0FEE-2EB4-435F-B688-8C9F892A82C3}" dt="2020-06-04T13:56:44.541" v="861" actId="27309"/>
          <ac:graphicFrameMkLst>
            <pc:docMk/>
            <pc:sldMk cId="410256699" sldId="8829"/>
            <ac:graphicFrameMk id="15" creationId="{A0FE1E43-AE39-4C82-B285-FE424435EBF3}"/>
          </ac:graphicFrameMkLst>
        </pc:graphicFrameChg>
      </pc:sldChg>
      <pc:sldChg chg="modSp mod">
        <pc:chgData name="Hickey, Claudette" userId="71e19957-b843-4df7-8271-6169398ba655" providerId="ADAL" clId="{605B0FEE-2EB4-435F-B688-8C9F892A82C3}" dt="2020-06-09T20:57:00.699" v="4230" actId="20577"/>
        <pc:sldMkLst>
          <pc:docMk/>
          <pc:sldMk cId="3410172460" sldId="8830"/>
        </pc:sldMkLst>
        <pc:graphicFrameChg chg="mod modGraphic">
          <ac:chgData name="Hickey, Claudette" userId="71e19957-b843-4df7-8271-6169398ba655" providerId="ADAL" clId="{605B0FEE-2EB4-435F-B688-8C9F892A82C3}" dt="2020-06-09T20:57:00.699" v="4230" actId="20577"/>
          <ac:graphicFrameMkLst>
            <pc:docMk/>
            <pc:sldMk cId="3410172460" sldId="8830"/>
            <ac:graphicFrameMk id="3" creationId="{F0966A1D-10A2-4611-9E08-97C25A09CB32}"/>
          </ac:graphicFrameMkLst>
        </pc:graphicFrameChg>
      </pc:sldChg>
      <pc:sldChg chg="del">
        <pc:chgData name="Hickey, Claudette" userId="71e19957-b843-4df7-8271-6169398ba655" providerId="ADAL" clId="{605B0FEE-2EB4-435F-B688-8C9F892A82C3}" dt="2020-06-09T15:31:50.289" v="3794" actId="47"/>
        <pc:sldMkLst>
          <pc:docMk/>
          <pc:sldMk cId="459443229" sldId="8831"/>
        </pc:sldMkLst>
      </pc:sldChg>
      <pc:sldChg chg="modSp mod">
        <pc:chgData name="Hickey, Claudette" userId="71e19957-b843-4df7-8271-6169398ba655" providerId="ADAL" clId="{605B0FEE-2EB4-435F-B688-8C9F892A82C3}" dt="2020-06-09T13:39:00.853" v="3791" actId="20577"/>
        <pc:sldMkLst>
          <pc:docMk/>
          <pc:sldMk cId="142304339" sldId="8846"/>
        </pc:sldMkLst>
        <pc:spChg chg="mod">
          <ac:chgData name="Hickey, Claudette" userId="71e19957-b843-4df7-8271-6169398ba655" providerId="ADAL" clId="{605B0FEE-2EB4-435F-B688-8C9F892A82C3}" dt="2020-06-09T13:39:00.853" v="3791" actId="20577"/>
          <ac:spMkLst>
            <pc:docMk/>
            <pc:sldMk cId="142304339" sldId="8846"/>
            <ac:spMk id="3" creationId="{6C06840F-267B-441C-9289-7F36F99DE977}"/>
          </ac:spMkLst>
        </pc:spChg>
      </pc:sldChg>
      <pc:sldChg chg="addSp delSp modSp mod">
        <pc:chgData name="Hickey, Claudette" userId="71e19957-b843-4df7-8271-6169398ba655" providerId="ADAL" clId="{605B0FEE-2EB4-435F-B688-8C9F892A82C3}" dt="2020-06-09T12:45:33.386" v="3106" actId="20577"/>
        <pc:sldMkLst>
          <pc:docMk/>
          <pc:sldMk cId="2359021509" sldId="8847"/>
        </pc:sldMkLst>
        <pc:spChg chg="mod">
          <ac:chgData name="Hickey, Claudette" userId="71e19957-b843-4df7-8271-6169398ba655" providerId="ADAL" clId="{605B0FEE-2EB4-435F-B688-8C9F892A82C3}" dt="2020-06-04T13:45:56.722" v="88" actId="20577"/>
          <ac:spMkLst>
            <pc:docMk/>
            <pc:sldMk cId="2359021509" sldId="8847"/>
            <ac:spMk id="3" creationId="{00000000-0000-0000-0000-000000000000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7" creationId="{427E905C-9117-407B-876A-B94255372A4F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8" creationId="{4A44AA50-C4EF-4BF8-9DE4-F06C6D4A73E6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10" creationId="{CB0975E2-772C-4D70-B1A4-194AAD7FEDAF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11" creationId="{58C0AFAA-57C1-4FAD-BBAD-932D5D7D711C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12" creationId="{E13B7442-6FD9-49A0-9072-7FE48F63EED4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13" creationId="{65D908E9-BB97-489D-8228-7AC9D3A5BBE6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16" creationId="{2E329A21-D16F-4E16-8FDE-0C71A72F01E3}"/>
          </ac:spMkLst>
        </pc:spChg>
        <pc:spChg chg="add del mod">
          <ac:chgData name="Hickey, Claudette" userId="71e19957-b843-4df7-8271-6169398ba655" providerId="ADAL" clId="{605B0FEE-2EB4-435F-B688-8C9F892A82C3}" dt="2020-06-08T12:34:20.817" v="1702"/>
          <ac:spMkLst>
            <pc:docMk/>
            <pc:sldMk cId="2359021509" sldId="8847"/>
            <ac:spMk id="17" creationId="{D8CACAD4-7EBD-4BA2-946B-864ABEBDCAF1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22" creationId="{79FA4BA3-FAD3-4322-A035-A48E86AD8701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26" creationId="{2955BEF4-30D3-46F4-81A6-54236AE00F33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27" creationId="{585EACCE-4800-4917-B636-467950E081C6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28" creationId="{58AE90C9-387E-45C3-986C-D80C4711996B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29" creationId="{FA04A136-72FA-4164-86BB-2BCA7B2290FA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0" creationId="{1F447DC2-92F9-4E20-95C4-043A843DA09E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1" creationId="{2ABE2CAE-BDD1-4AB0-9D2D-4F9DD21BCEFC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2" creationId="{9C3D2C91-278A-4571-9B37-3AE42286B9A0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3" creationId="{4E23A953-75DC-408D-ACC6-30183B5C7E3F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4" creationId="{1B342B63-39CF-4633-93FA-64B49E915853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5" creationId="{DED6F72D-4D26-467C-9584-9E5ADCB833C0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6" creationId="{B6C42005-4E27-44C1-9C79-4C5B8444A826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7" creationId="{C23AB67E-FA43-47FD-906F-7CCF035256EE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38" creationId="{D9AD5B2C-E36F-452C-BDC8-8726C6B03B8B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1" creationId="{C3DCEF3F-1006-4DAF-A71E-3D379942A30D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2" creationId="{2ABB3869-E053-4FDC-999D-393729EE7B11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3" creationId="{98EDBB71-D918-491B-AC10-6B5E83C07F20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4" creationId="{CC60BFBE-2A6D-4703-93EB-301787015F71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5" creationId="{84A6C7BF-F1CF-4925-808E-6A67DA512374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6" creationId="{27EA6722-7C9A-4F35-9516-43031D892719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7" creationId="{506E3121-EE05-4B64-BAA7-FC494987860A}"/>
          </ac:spMkLst>
        </pc:spChg>
        <pc:spChg chg="del">
          <ac:chgData name="Hickey, Claudette" userId="71e19957-b843-4df7-8271-6169398ba655" providerId="ADAL" clId="{605B0FEE-2EB4-435F-B688-8C9F892A82C3}" dt="2020-06-03T21:10:48.003" v="73" actId="478"/>
          <ac:spMkLst>
            <pc:docMk/>
            <pc:sldMk cId="2359021509" sldId="8847"/>
            <ac:spMk id="48" creationId="{3CF82EFC-3600-4018-8357-B7780AE50771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49" creationId="{EEB52462-AED1-4703-BF2A-07F45A5528B0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50" creationId="{1676ACEA-2C13-4B31-81CC-AE36EA18FB67}"/>
          </ac:spMkLst>
        </pc:spChg>
        <pc:spChg chg="add mod">
          <ac:chgData name="Hickey, Claudette" userId="71e19957-b843-4df7-8271-6169398ba655" providerId="ADAL" clId="{605B0FEE-2EB4-435F-B688-8C9F892A82C3}" dt="2020-06-08T12:33:09.937" v="1700" actId="552"/>
          <ac:spMkLst>
            <pc:docMk/>
            <pc:sldMk cId="2359021509" sldId="8847"/>
            <ac:spMk id="51" creationId="{53C40D55-7206-4469-B2F7-38BF8D732191}"/>
          </ac:spMkLst>
        </pc:spChg>
        <pc:spChg chg="add mod">
          <ac:chgData name="Hickey, Claudette" userId="71e19957-b843-4df7-8271-6169398ba655" providerId="ADAL" clId="{605B0FEE-2EB4-435F-B688-8C9F892A82C3}" dt="2020-06-08T18:47:07.538" v="2537" actId="1036"/>
          <ac:spMkLst>
            <pc:docMk/>
            <pc:sldMk cId="2359021509" sldId="8847"/>
            <ac:spMk id="52" creationId="{7721C725-6665-4ECC-95DD-26A8A720A23C}"/>
          </ac:spMkLst>
        </pc:spChg>
        <pc:spChg chg="add del mod">
          <ac:chgData name="Hickey, Claudette" userId="71e19957-b843-4df7-8271-6169398ba655" providerId="ADAL" clId="{605B0FEE-2EB4-435F-B688-8C9F892A82C3}" dt="2020-06-04T13:56:26.644" v="857"/>
          <ac:spMkLst>
            <pc:docMk/>
            <pc:sldMk cId="2359021509" sldId="8847"/>
            <ac:spMk id="53" creationId="{182F1C2C-3B81-47E3-BFBB-23D73585875E}"/>
          </ac:spMkLst>
        </pc:spChg>
        <pc:spChg chg="add del mod">
          <ac:chgData name="Hickey, Claudette" userId="71e19957-b843-4df7-8271-6169398ba655" providerId="ADAL" clId="{605B0FEE-2EB4-435F-B688-8C9F892A82C3}" dt="2020-06-04T13:56:26.644" v="857"/>
          <ac:spMkLst>
            <pc:docMk/>
            <pc:sldMk cId="2359021509" sldId="8847"/>
            <ac:spMk id="54" creationId="{FB4343B0-218D-4D4B-8810-5591EE4152B6}"/>
          </ac:spMkLst>
        </pc:spChg>
        <pc:spChg chg="add del mod">
          <ac:chgData name="Hickey, Claudette" userId="71e19957-b843-4df7-8271-6169398ba655" providerId="ADAL" clId="{605B0FEE-2EB4-435F-B688-8C9F892A82C3}" dt="2020-06-04T13:56:34.906" v="859"/>
          <ac:spMkLst>
            <pc:docMk/>
            <pc:sldMk cId="2359021509" sldId="8847"/>
            <ac:spMk id="55" creationId="{0B4D361C-6CC8-4CDB-ACE8-0DED2CC6BB45}"/>
          </ac:spMkLst>
        </pc:spChg>
        <pc:spChg chg="add del mod">
          <ac:chgData name="Hickey, Claudette" userId="71e19957-b843-4df7-8271-6169398ba655" providerId="ADAL" clId="{605B0FEE-2EB4-435F-B688-8C9F892A82C3}" dt="2020-06-04T13:56:34.906" v="859"/>
          <ac:spMkLst>
            <pc:docMk/>
            <pc:sldMk cId="2359021509" sldId="8847"/>
            <ac:spMk id="56" creationId="{98187AF7-FBC5-40D7-A975-274B122E15DF}"/>
          </ac:spMkLst>
        </pc:spChg>
        <pc:spChg chg="add del mod">
          <ac:chgData name="Hickey, Claudette" userId="71e19957-b843-4df7-8271-6169398ba655" providerId="ADAL" clId="{605B0FEE-2EB4-435F-B688-8C9F892A82C3}" dt="2020-06-04T13:56:49.806" v="863"/>
          <ac:spMkLst>
            <pc:docMk/>
            <pc:sldMk cId="2359021509" sldId="8847"/>
            <ac:spMk id="57" creationId="{17832FD6-A554-4291-9319-E9C99A4B1CD3}"/>
          </ac:spMkLst>
        </pc:spChg>
        <pc:spChg chg="add del mod">
          <ac:chgData name="Hickey, Claudette" userId="71e19957-b843-4df7-8271-6169398ba655" providerId="ADAL" clId="{605B0FEE-2EB4-435F-B688-8C9F892A82C3}" dt="2020-06-04T13:56:49.806" v="863"/>
          <ac:spMkLst>
            <pc:docMk/>
            <pc:sldMk cId="2359021509" sldId="8847"/>
            <ac:spMk id="58" creationId="{016B4EA6-C602-4D54-B314-4D6F3C25CFCB}"/>
          </ac:spMkLst>
        </pc:spChg>
        <pc:spChg chg="add mod">
          <ac:chgData name="Hickey, Claudette" userId="71e19957-b843-4df7-8271-6169398ba655" providerId="ADAL" clId="{605B0FEE-2EB4-435F-B688-8C9F892A82C3}" dt="2020-06-08T18:50:54" v="2724" actId="20577"/>
          <ac:spMkLst>
            <pc:docMk/>
            <pc:sldMk cId="2359021509" sldId="8847"/>
            <ac:spMk id="59" creationId="{1021FE27-F355-48D8-BB21-74435C3F16D3}"/>
          </ac:spMkLst>
        </pc:spChg>
        <pc:spChg chg="add mod">
          <ac:chgData name="Hickey, Claudette" userId="71e19957-b843-4df7-8271-6169398ba655" providerId="ADAL" clId="{605B0FEE-2EB4-435F-B688-8C9F892A82C3}" dt="2020-06-09T12:45:33.386" v="3106" actId="20577"/>
          <ac:spMkLst>
            <pc:docMk/>
            <pc:sldMk cId="2359021509" sldId="8847"/>
            <ac:spMk id="60" creationId="{27F3EAFC-87F4-476F-879E-1B1A2ADB3EFD}"/>
          </ac:spMkLst>
        </pc:spChg>
        <pc:spChg chg="add mod">
          <ac:chgData name="Hickey, Claudette" userId="71e19957-b843-4df7-8271-6169398ba655" providerId="ADAL" clId="{605B0FEE-2EB4-435F-B688-8C9F892A82C3}" dt="2020-06-08T18:49:09.904" v="2617" actId="1036"/>
          <ac:spMkLst>
            <pc:docMk/>
            <pc:sldMk cId="2359021509" sldId="8847"/>
            <ac:spMk id="61" creationId="{3D5DBEE6-8B4D-4347-AA48-2EE490065463}"/>
          </ac:spMkLst>
        </pc:spChg>
        <pc:spChg chg="add mod">
          <ac:chgData name="Hickey, Claudette" userId="71e19957-b843-4df7-8271-6169398ba655" providerId="ADAL" clId="{605B0FEE-2EB4-435F-B688-8C9F892A82C3}" dt="2020-06-08T18:51:15.402" v="2728" actId="554"/>
          <ac:spMkLst>
            <pc:docMk/>
            <pc:sldMk cId="2359021509" sldId="8847"/>
            <ac:spMk id="62" creationId="{305E5972-11F9-43DB-BB0C-14E2ACBA98AD}"/>
          </ac:spMkLst>
        </pc:spChg>
        <pc:spChg chg="add del mod">
          <ac:chgData name="Hickey, Claudette" userId="71e19957-b843-4df7-8271-6169398ba655" providerId="ADAL" clId="{605B0FEE-2EB4-435F-B688-8C9F892A82C3}" dt="2020-06-08T18:50:58.814" v="2725" actId="20577"/>
          <ac:spMkLst>
            <pc:docMk/>
            <pc:sldMk cId="2359021509" sldId="8847"/>
            <ac:spMk id="63" creationId="{61D5CA4A-E90A-4D64-BC12-2F7AB1FEEACC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64" creationId="{BB720780-3379-4479-B58B-4BB59E08CC51}"/>
          </ac:spMkLst>
        </pc:spChg>
        <pc:spChg chg="add mod">
          <ac:chgData name="Hickey, Claudette" userId="71e19957-b843-4df7-8271-6169398ba655" providerId="ADAL" clId="{605B0FEE-2EB4-435F-B688-8C9F892A82C3}" dt="2020-06-08T18:51:15.402" v="2728" actId="554"/>
          <ac:spMkLst>
            <pc:docMk/>
            <pc:sldMk cId="2359021509" sldId="8847"/>
            <ac:spMk id="65" creationId="{9DE09C08-1483-4F2E-868C-2C77009099E7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66" creationId="{E01D4685-8D8A-4DCA-811E-F8528814A113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67" creationId="{919839EE-E1AA-4F1B-8E96-6ED53B419A82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68" creationId="{0EE3E5F6-BF1B-4F06-A2E0-FE194962EF1E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69" creationId="{AF04A753-E92D-4DC2-96CC-91F686ACC32F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70" creationId="{25A224F6-9351-4ED8-9E99-203E1D89EE2D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71" creationId="{0E332D4F-CEFD-4250-AAE5-7CC08BDA07EE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72" creationId="{EDB2CB99-0199-44C6-A7BD-AF30AF72D82C}"/>
          </ac:spMkLst>
        </pc:spChg>
        <pc:spChg chg="del">
          <ac:chgData name="Hickey, Claudette" userId="71e19957-b843-4df7-8271-6169398ba655" providerId="ADAL" clId="{605B0FEE-2EB4-435F-B688-8C9F892A82C3}" dt="2020-06-03T21:10:22.148" v="0" actId="478"/>
          <ac:spMkLst>
            <pc:docMk/>
            <pc:sldMk cId="2359021509" sldId="8847"/>
            <ac:spMk id="73" creationId="{91D54D0B-00CA-4062-BB36-9A986CF09217}"/>
          </ac:spMkLst>
        </pc:spChg>
        <pc:spChg chg="add mod">
          <ac:chgData name="Hickey, Claudette" userId="71e19957-b843-4df7-8271-6169398ba655" providerId="ADAL" clId="{605B0FEE-2EB4-435F-B688-8C9F892A82C3}" dt="2020-06-08T18:49:01.914" v="2607" actId="1036"/>
          <ac:spMkLst>
            <pc:docMk/>
            <pc:sldMk cId="2359021509" sldId="8847"/>
            <ac:spMk id="74" creationId="{BDD1C7EA-E4CF-48D7-8E59-474F9080ACCF}"/>
          </ac:spMkLst>
        </pc:spChg>
        <pc:spChg chg="add mod">
          <ac:chgData name="Hickey, Claudette" userId="71e19957-b843-4df7-8271-6169398ba655" providerId="ADAL" clId="{605B0FEE-2EB4-435F-B688-8C9F892A82C3}" dt="2020-06-08T18:49:01.914" v="2607" actId="1036"/>
          <ac:spMkLst>
            <pc:docMk/>
            <pc:sldMk cId="2359021509" sldId="8847"/>
            <ac:spMk id="75" creationId="{66C277D5-D6FE-4D2B-8B6D-96201629A04C}"/>
          </ac:spMkLst>
        </pc:spChg>
        <pc:spChg chg="add mod">
          <ac:chgData name="Hickey, Claudette" userId="71e19957-b843-4df7-8271-6169398ba655" providerId="ADAL" clId="{605B0FEE-2EB4-435F-B688-8C9F892A82C3}" dt="2020-06-08T18:49:01.914" v="2607" actId="1036"/>
          <ac:spMkLst>
            <pc:docMk/>
            <pc:sldMk cId="2359021509" sldId="8847"/>
            <ac:spMk id="76" creationId="{9BE62064-9D35-4DF5-8B81-E0B990AE2B07}"/>
          </ac:spMkLst>
        </pc:spChg>
        <pc:spChg chg="add mod">
          <ac:chgData name="Hickey, Claudette" userId="71e19957-b843-4df7-8271-6169398ba655" providerId="ADAL" clId="{605B0FEE-2EB4-435F-B688-8C9F892A82C3}" dt="2020-06-08T18:49:01.914" v="2607" actId="1036"/>
          <ac:spMkLst>
            <pc:docMk/>
            <pc:sldMk cId="2359021509" sldId="8847"/>
            <ac:spMk id="77" creationId="{F9759C63-B7FA-490E-BD17-F72676A47E74}"/>
          </ac:spMkLst>
        </pc:spChg>
        <pc:spChg chg="add del mod">
          <ac:chgData name="Hickey, Claudette" userId="71e19957-b843-4df7-8271-6169398ba655" providerId="ADAL" clId="{605B0FEE-2EB4-435F-B688-8C9F892A82C3}" dt="2020-06-08T12:34:29.626" v="1704"/>
          <ac:spMkLst>
            <pc:docMk/>
            <pc:sldMk cId="2359021509" sldId="8847"/>
            <ac:spMk id="79" creationId="{E190D1B4-53CE-4FC5-8C0F-8BF51191142C}"/>
          </ac:spMkLst>
        </pc:spChg>
        <pc:spChg chg="add del mod">
          <ac:chgData name="Hickey, Claudette" userId="71e19957-b843-4df7-8271-6169398ba655" providerId="ADAL" clId="{605B0FEE-2EB4-435F-B688-8C9F892A82C3}" dt="2020-06-08T12:34:29.626" v="1704"/>
          <ac:spMkLst>
            <pc:docMk/>
            <pc:sldMk cId="2359021509" sldId="8847"/>
            <ac:spMk id="80" creationId="{684D5052-5EB4-4DF0-8056-A7392BA50765}"/>
          </ac:spMkLst>
        </pc:spChg>
        <pc:spChg chg="add del mod">
          <ac:chgData name="Hickey, Claudette" userId="71e19957-b843-4df7-8271-6169398ba655" providerId="ADAL" clId="{605B0FEE-2EB4-435F-B688-8C9F892A82C3}" dt="2020-06-08T12:34:29.626" v="1704"/>
          <ac:spMkLst>
            <pc:docMk/>
            <pc:sldMk cId="2359021509" sldId="8847"/>
            <ac:spMk id="81" creationId="{0028C045-EA56-4B24-88EC-5E0963BFAA86}"/>
          </ac:spMkLst>
        </pc:spChg>
        <pc:spChg chg="add del mod">
          <ac:chgData name="Hickey, Claudette" userId="71e19957-b843-4df7-8271-6169398ba655" providerId="ADAL" clId="{605B0FEE-2EB4-435F-B688-8C9F892A82C3}" dt="2020-06-08T12:34:29.626" v="1704"/>
          <ac:spMkLst>
            <pc:docMk/>
            <pc:sldMk cId="2359021509" sldId="8847"/>
            <ac:spMk id="82" creationId="{FD8C3613-6AA2-4D37-A4D4-82DD4280219F}"/>
          </ac:spMkLst>
        </pc:spChg>
        <pc:spChg chg="add del mod">
          <ac:chgData name="Hickey, Claudette" userId="71e19957-b843-4df7-8271-6169398ba655" providerId="ADAL" clId="{605B0FEE-2EB4-435F-B688-8C9F892A82C3}" dt="2020-06-08T18:45:33.156" v="2481" actId="478"/>
          <ac:spMkLst>
            <pc:docMk/>
            <pc:sldMk cId="2359021509" sldId="8847"/>
            <ac:spMk id="83" creationId="{71A64924-81AD-4DC5-93C3-FF01C7DD7B27}"/>
          </ac:spMkLst>
        </pc:spChg>
        <pc:spChg chg="add del mod">
          <ac:chgData name="Hickey, Claudette" userId="71e19957-b843-4df7-8271-6169398ba655" providerId="ADAL" clId="{605B0FEE-2EB4-435F-B688-8C9F892A82C3}" dt="2020-06-08T18:45:35.746" v="2482" actId="478"/>
          <ac:spMkLst>
            <pc:docMk/>
            <pc:sldMk cId="2359021509" sldId="8847"/>
            <ac:spMk id="84" creationId="{2DEB5831-99B1-4636-8B3F-2AA06606A7F9}"/>
          </ac:spMkLst>
        </pc:spChg>
        <pc:spChg chg="add del mod">
          <ac:chgData name="Hickey, Claudette" userId="71e19957-b843-4df7-8271-6169398ba655" providerId="ADAL" clId="{605B0FEE-2EB4-435F-B688-8C9F892A82C3}" dt="2020-06-08T18:45:33.156" v="2481" actId="478"/>
          <ac:spMkLst>
            <pc:docMk/>
            <pc:sldMk cId="2359021509" sldId="8847"/>
            <ac:spMk id="85" creationId="{ACA1AC5A-60A7-42A1-B7F6-BAF46CDB4271}"/>
          </ac:spMkLst>
        </pc:spChg>
        <pc:spChg chg="add del mod">
          <ac:chgData name="Hickey, Claudette" userId="71e19957-b843-4df7-8271-6169398ba655" providerId="ADAL" clId="{605B0FEE-2EB4-435F-B688-8C9F892A82C3}" dt="2020-06-08T18:45:33.156" v="2481" actId="478"/>
          <ac:spMkLst>
            <pc:docMk/>
            <pc:sldMk cId="2359021509" sldId="8847"/>
            <ac:spMk id="86" creationId="{9B04BC65-6107-4595-8B02-AE2620B926C4}"/>
          </ac:spMkLst>
        </pc:spChg>
        <pc:spChg chg="add mod">
          <ac:chgData name="Hickey, Claudette" userId="71e19957-b843-4df7-8271-6169398ba655" providerId="ADAL" clId="{605B0FEE-2EB4-435F-B688-8C9F892A82C3}" dt="2020-06-08T18:49:18.480" v="2635" actId="1036"/>
          <ac:spMkLst>
            <pc:docMk/>
            <pc:sldMk cId="2359021509" sldId="8847"/>
            <ac:spMk id="87" creationId="{AEABDA07-7550-4780-AF9E-3D5F6F06C2C9}"/>
          </ac:spMkLst>
        </pc:spChg>
        <pc:spChg chg="add del mod">
          <ac:chgData name="Hickey, Claudette" userId="71e19957-b843-4df7-8271-6169398ba655" providerId="ADAL" clId="{605B0FEE-2EB4-435F-B688-8C9F892A82C3}" dt="2020-06-08T18:49:23.666" v="2637"/>
          <ac:spMkLst>
            <pc:docMk/>
            <pc:sldMk cId="2359021509" sldId="8847"/>
            <ac:spMk id="88" creationId="{7478CCD3-A2B0-4E91-A9DE-2B522BC58728}"/>
          </ac:spMkLst>
        </pc:spChg>
        <pc:spChg chg="add mod">
          <ac:chgData name="Hickey, Claudette" userId="71e19957-b843-4df7-8271-6169398ba655" providerId="ADAL" clId="{605B0FEE-2EB4-435F-B688-8C9F892A82C3}" dt="2020-06-08T18:50:37.639" v="2722" actId="1076"/>
          <ac:spMkLst>
            <pc:docMk/>
            <pc:sldMk cId="2359021509" sldId="8847"/>
            <ac:spMk id="89" creationId="{C1657199-AC31-43FF-A147-5BB6BF2DAE7F}"/>
          </ac:spMkLst>
        </pc:spChg>
        <pc:graphicFrameChg chg="add mod modGraphic">
          <ac:chgData name="Hickey, Claudette" userId="71e19957-b843-4df7-8271-6169398ba655" providerId="ADAL" clId="{605B0FEE-2EB4-435F-B688-8C9F892A82C3}" dt="2020-06-08T18:52:57.172" v="2752" actId="20577"/>
          <ac:graphicFrameMkLst>
            <pc:docMk/>
            <pc:sldMk cId="2359021509" sldId="8847"/>
            <ac:graphicFrameMk id="14" creationId="{AA6C824F-C5FF-485F-ABA0-609797DA18FE}"/>
          </ac:graphicFrameMkLst>
        </pc:graphicFrameChg>
        <pc:graphicFrameChg chg="add del mod">
          <ac:chgData name="Hickey, Claudette" userId="71e19957-b843-4df7-8271-6169398ba655" providerId="ADAL" clId="{605B0FEE-2EB4-435F-B688-8C9F892A82C3}" dt="2020-06-08T12:34:29.626" v="1704"/>
          <ac:graphicFrameMkLst>
            <pc:docMk/>
            <pc:sldMk cId="2359021509" sldId="8847"/>
            <ac:graphicFrameMk id="78" creationId="{3880358C-1A1E-4764-8920-10DDB9677572}"/>
          </ac:graphicFrameMkLst>
        </pc:graphicFrameChg>
        <pc:cxnChg chg="del">
          <ac:chgData name="Hickey, Claudette" userId="71e19957-b843-4df7-8271-6169398ba655" providerId="ADAL" clId="{605B0FEE-2EB4-435F-B688-8C9F892A82C3}" dt="2020-06-03T21:10:22.148" v="0" actId="478"/>
          <ac:cxnSpMkLst>
            <pc:docMk/>
            <pc:sldMk cId="2359021509" sldId="8847"/>
            <ac:cxnSpMk id="5" creationId="{00000000-0000-0000-0000-000000000000}"/>
          </ac:cxnSpMkLst>
        </pc:cxnChg>
        <pc:cxnChg chg="del">
          <ac:chgData name="Hickey, Claudette" userId="71e19957-b843-4df7-8271-6169398ba655" providerId="ADAL" clId="{605B0FEE-2EB4-435F-B688-8C9F892A82C3}" dt="2020-06-03T21:10:22.148" v="0" actId="478"/>
          <ac:cxnSpMkLst>
            <pc:docMk/>
            <pc:sldMk cId="2359021509" sldId="8847"/>
            <ac:cxnSpMk id="9" creationId="{C36E23AA-C674-4912-9F9E-8A51EBB03412}"/>
          </ac:cxnSpMkLst>
        </pc:cxnChg>
      </pc:sldChg>
      <pc:sldChg chg="add del">
        <pc:chgData name="Hickey, Claudette" userId="71e19957-b843-4df7-8271-6169398ba655" providerId="ADAL" clId="{605B0FEE-2EB4-435F-B688-8C9F892A82C3}" dt="2020-06-04T13:52:20.135" v="749"/>
        <pc:sldMkLst>
          <pc:docMk/>
          <pc:sldMk cId="312417967" sldId="8848"/>
        </pc:sldMkLst>
      </pc:sldChg>
      <pc:sldChg chg="add del">
        <pc:chgData name="Hickey, Claudette" userId="71e19957-b843-4df7-8271-6169398ba655" providerId="ADAL" clId="{605B0FEE-2EB4-435F-B688-8C9F892A82C3}" dt="2020-06-04T13:52:26.037" v="751"/>
        <pc:sldMkLst>
          <pc:docMk/>
          <pc:sldMk cId="873110642" sldId="8848"/>
        </pc:sldMkLst>
      </pc:sldChg>
      <pc:sldChg chg="addSp delSp modSp new mod ord">
        <pc:chgData name="Hickey, Claudette" userId="71e19957-b843-4df7-8271-6169398ba655" providerId="ADAL" clId="{605B0FEE-2EB4-435F-B688-8C9F892A82C3}" dt="2020-06-10T20:05:05.787" v="4784" actId="20577"/>
        <pc:sldMkLst>
          <pc:docMk/>
          <pc:sldMk cId="2832400647" sldId="8848"/>
        </pc:sldMkLst>
        <pc:spChg chg="mod">
          <ac:chgData name="Hickey, Claudette" userId="71e19957-b843-4df7-8271-6169398ba655" providerId="ADAL" clId="{605B0FEE-2EB4-435F-B688-8C9F892A82C3}" dt="2020-06-04T17:56:58.317" v="1670" actId="20577"/>
          <ac:spMkLst>
            <pc:docMk/>
            <pc:sldMk cId="2832400647" sldId="8848"/>
            <ac:spMk id="2" creationId="{264DFCEC-AA52-4E25-AEAA-C91535DBCC89}"/>
          </ac:spMkLst>
        </pc:spChg>
        <pc:spChg chg="mod">
          <ac:chgData name="Hickey, Claudette" userId="71e19957-b843-4df7-8271-6169398ba655" providerId="ADAL" clId="{605B0FEE-2EB4-435F-B688-8C9F892A82C3}" dt="2020-06-09T12:53:41.302" v="3471" actId="313"/>
          <ac:spMkLst>
            <pc:docMk/>
            <pc:sldMk cId="2832400647" sldId="8848"/>
            <ac:spMk id="3" creationId="{A0BC17B1-1AC4-45F0-BB9F-5E05EA5294E7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5" creationId="{2478F196-D754-42D6-A3C0-85B7012A0906}"/>
          </ac:spMkLst>
        </pc:spChg>
        <pc:spChg chg="add del mod">
          <ac:chgData name="Hickey, Claudette" userId="71e19957-b843-4df7-8271-6169398ba655" providerId="ADAL" clId="{605B0FEE-2EB4-435F-B688-8C9F892A82C3}" dt="2020-06-08T19:54:50.894" v="3094" actId="478"/>
          <ac:spMkLst>
            <pc:docMk/>
            <pc:sldMk cId="2832400647" sldId="8848"/>
            <ac:spMk id="6" creationId="{A2E1A8FC-3104-4E62-9B05-9EAB4F186739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7" creationId="{C381520C-C263-4F99-B8BA-24D4FFBE5754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8" creationId="{69E62CD9-78D5-4636-894F-6091D45812B5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9" creationId="{DBC5D15D-064B-4F79-AF56-EC0372708011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10" creationId="{0B3649FE-2DB1-4C4C-8095-0888C8058C3C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11" creationId="{9BA467D4-4197-4C42-AB30-62F5B83CEEB2}"/>
          </ac:spMkLst>
        </pc:spChg>
        <pc:spChg chg="add mod">
          <ac:chgData name="Hickey, Claudette" userId="71e19957-b843-4df7-8271-6169398ba655" providerId="ADAL" clId="{605B0FEE-2EB4-435F-B688-8C9F892A82C3}" dt="2020-06-10T20:05:05.787" v="4784" actId="20577"/>
          <ac:spMkLst>
            <pc:docMk/>
            <pc:sldMk cId="2832400647" sldId="8848"/>
            <ac:spMk id="12" creationId="{338A189F-C276-45AB-8A17-AE9071EC5ECC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13" creationId="{826392A5-FABD-468B-8031-AA29259F5D5D}"/>
          </ac:spMkLst>
        </pc:spChg>
        <pc:spChg chg="add del mod">
          <ac:chgData name="Hickey, Claudette" userId="71e19957-b843-4df7-8271-6169398ba655" providerId="ADAL" clId="{605B0FEE-2EB4-435F-B688-8C9F892A82C3}" dt="2020-06-09T12:51:49.452" v="3380"/>
          <ac:spMkLst>
            <pc:docMk/>
            <pc:sldMk cId="2832400647" sldId="8848"/>
            <ac:spMk id="14" creationId="{0B5FD5C7-7BAF-41DA-A64E-026C4D9EABB4}"/>
          </ac:spMkLst>
        </pc:spChg>
        <pc:spChg chg="add del mod">
          <ac:chgData name="Hickey, Claudette" userId="71e19957-b843-4df7-8271-6169398ba655" providerId="ADAL" clId="{605B0FEE-2EB4-435F-B688-8C9F892A82C3}" dt="2020-06-09T12:51:49.452" v="3380"/>
          <ac:spMkLst>
            <pc:docMk/>
            <pc:sldMk cId="2832400647" sldId="8848"/>
            <ac:spMk id="15" creationId="{A4C0EBFC-D581-4E61-96B8-F3A2612C6C4B}"/>
          </ac:spMkLst>
        </pc:spChg>
        <pc:spChg chg="add mod">
          <ac:chgData name="Hickey, Claudette" userId="71e19957-b843-4df7-8271-6169398ba655" providerId="ADAL" clId="{605B0FEE-2EB4-435F-B688-8C9F892A82C3}" dt="2020-06-10T16:22:18.242" v="4630" actId="20577"/>
          <ac:spMkLst>
            <pc:docMk/>
            <pc:sldMk cId="2832400647" sldId="8848"/>
            <ac:spMk id="16" creationId="{7A309ACF-84A1-454B-924B-DE1252BB3B3B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17" creationId="{FD51ABC2-ABD1-474C-8CFF-4979DD7CED9E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18" creationId="{78936203-7710-4B54-98AF-54692DDB289A}"/>
          </ac:spMkLst>
        </pc:spChg>
        <pc:spChg chg="add del mod">
          <ac:chgData name="Hickey, Claudette" userId="71e19957-b843-4df7-8271-6169398ba655" providerId="ADAL" clId="{605B0FEE-2EB4-435F-B688-8C9F892A82C3}" dt="2020-06-09T12:54:11.296" v="3475"/>
          <ac:spMkLst>
            <pc:docMk/>
            <pc:sldMk cId="2832400647" sldId="8848"/>
            <ac:spMk id="19" creationId="{25C5A068-C873-495D-95A0-58D3093F25A1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0" creationId="{D7D7AE87-5729-44FD-BD52-D9ACDACB60D8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1" creationId="{A50633A8-A8C0-46CD-83AA-9AEBCBEF3E0D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2" creationId="{E1341505-7983-47ED-AC51-32B6B66481AA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3" creationId="{094BBABD-67A9-4AB0-96B0-DDF042F490F9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4" creationId="{44F149E1-E81E-455F-911E-B16D71FA2AA5}"/>
          </ac:spMkLst>
        </pc:spChg>
        <pc:spChg chg="add mod">
          <ac:chgData name="Hickey, Claudette" userId="71e19957-b843-4df7-8271-6169398ba655" providerId="ADAL" clId="{605B0FEE-2EB4-435F-B688-8C9F892A82C3}" dt="2020-06-10T16:21:43.600" v="4615" actId="1035"/>
          <ac:spMkLst>
            <pc:docMk/>
            <pc:sldMk cId="2832400647" sldId="8848"/>
            <ac:spMk id="25" creationId="{1971772D-90BC-43A6-B15E-1B3B42D075ED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6" creationId="{5D930961-DCD1-4E89-9A78-D625954EB985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7" creationId="{902364B4-451A-4372-94FD-40148051256E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8" creationId="{6C056787-62A3-49C4-B6CE-E7A7CA0A16CE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29" creationId="{F7F0E941-6C2C-47E3-B31D-4A60BBEDDEF4}"/>
          </ac:spMkLst>
        </pc:spChg>
        <pc:spChg chg="add mod">
          <ac:chgData name="Hickey, Claudette" userId="71e19957-b843-4df7-8271-6169398ba655" providerId="ADAL" clId="{605B0FEE-2EB4-435F-B688-8C9F892A82C3}" dt="2020-06-10T16:21:43.600" v="4615" actId="1035"/>
          <ac:spMkLst>
            <pc:docMk/>
            <pc:sldMk cId="2832400647" sldId="8848"/>
            <ac:spMk id="30" creationId="{72F0441F-D1BE-4A93-B5DE-5C6724D2AA5F}"/>
          </ac:spMkLst>
        </pc:spChg>
        <pc:spChg chg="add mod">
          <ac:chgData name="Hickey, Claudette" userId="71e19957-b843-4df7-8271-6169398ba655" providerId="ADAL" clId="{605B0FEE-2EB4-435F-B688-8C9F892A82C3}" dt="2020-06-10T19:34:59.569" v="4694" actId="313"/>
          <ac:spMkLst>
            <pc:docMk/>
            <pc:sldMk cId="2832400647" sldId="8848"/>
            <ac:spMk id="32" creationId="{0626386E-DF18-44D5-B9E3-B0662D4E6FD3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33" creationId="{DCCDD838-CFCA-466F-BC5A-FF1D70078B77}"/>
          </ac:spMkLst>
        </pc:spChg>
        <pc:spChg chg="add mod">
          <ac:chgData name="Hickey, Claudette" userId="71e19957-b843-4df7-8271-6169398ba655" providerId="ADAL" clId="{605B0FEE-2EB4-435F-B688-8C9F892A82C3}" dt="2020-06-10T19:42:08.283" v="4768" actId="1076"/>
          <ac:spMkLst>
            <pc:docMk/>
            <pc:sldMk cId="2832400647" sldId="8848"/>
            <ac:spMk id="34" creationId="{388E84FF-7578-47AB-841E-63D2B75309E6}"/>
          </ac:spMkLst>
        </pc:spChg>
        <pc:spChg chg="add mod">
          <ac:chgData name="Hickey, Claudette" userId="71e19957-b843-4df7-8271-6169398ba655" providerId="ADAL" clId="{605B0FEE-2EB4-435F-B688-8C9F892A82C3}" dt="2020-06-10T19:41:27.845" v="4740" actId="20577"/>
          <ac:spMkLst>
            <pc:docMk/>
            <pc:sldMk cId="2832400647" sldId="8848"/>
            <ac:spMk id="35" creationId="{60277E61-5E88-4CAE-AC30-4549FA00909D}"/>
          </ac:spMkLst>
        </pc:spChg>
        <pc:spChg chg="add mod">
          <ac:chgData name="Hickey, Claudette" userId="71e19957-b843-4df7-8271-6169398ba655" providerId="ADAL" clId="{605B0FEE-2EB4-435F-B688-8C9F892A82C3}" dt="2020-06-10T19:41:41.852" v="4754" actId="20577"/>
          <ac:spMkLst>
            <pc:docMk/>
            <pc:sldMk cId="2832400647" sldId="8848"/>
            <ac:spMk id="36" creationId="{E96F7EC1-55BF-4BA1-8F5D-8E1FD4D8081E}"/>
          </ac:spMkLst>
        </pc:spChg>
        <pc:spChg chg="add mod">
          <ac:chgData name="Hickey, Claudette" userId="71e19957-b843-4df7-8271-6169398ba655" providerId="ADAL" clId="{605B0FEE-2EB4-435F-B688-8C9F892A82C3}" dt="2020-06-10T19:36:11.691" v="4728" actId="1035"/>
          <ac:spMkLst>
            <pc:docMk/>
            <pc:sldMk cId="2832400647" sldId="8848"/>
            <ac:spMk id="37" creationId="{8DB3AD82-6707-4D81-9BED-C1C0B4A0A124}"/>
          </ac:spMkLst>
        </pc:spChg>
        <pc:spChg chg="add del mod">
          <ac:chgData name="Hickey, Claudette" userId="71e19957-b843-4df7-8271-6169398ba655" providerId="ADAL" clId="{605B0FEE-2EB4-435F-B688-8C9F892A82C3}" dt="2020-06-10T19:35:17.748" v="4695" actId="478"/>
          <ac:spMkLst>
            <pc:docMk/>
            <pc:sldMk cId="2832400647" sldId="8848"/>
            <ac:spMk id="38" creationId="{72D32E5E-7EE8-427E-8B1E-1FE52C4B2C44}"/>
          </ac:spMkLst>
        </pc:spChg>
        <pc:spChg chg="add mod">
          <ac:chgData name="Hickey, Claudette" userId="71e19957-b843-4df7-8271-6169398ba655" providerId="ADAL" clId="{605B0FEE-2EB4-435F-B688-8C9F892A82C3}" dt="2020-06-10T19:35:32.928" v="4712" actId="554"/>
          <ac:spMkLst>
            <pc:docMk/>
            <pc:sldMk cId="2832400647" sldId="8848"/>
            <ac:spMk id="39" creationId="{F38B57D8-08C3-411A-ABF3-4FBFCBED05C1}"/>
          </ac:spMkLst>
        </pc:spChg>
        <pc:spChg chg="add mod">
          <ac:chgData name="Hickey, Claudette" userId="71e19957-b843-4df7-8271-6169398ba655" providerId="ADAL" clId="{605B0FEE-2EB4-435F-B688-8C9F892A82C3}" dt="2020-06-10T19:35:32.928" v="4712" actId="554"/>
          <ac:spMkLst>
            <pc:docMk/>
            <pc:sldMk cId="2832400647" sldId="8848"/>
            <ac:spMk id="40" creationId="{0366FC9D-3B12-46CA-80B1-505D6B8A3439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41" creationId="{B5DE69CB-FEB7-4B1E-B8B1-3A7373C79885}"/>
          </ac:spMkLst>
        </pc:spChg>
        <pc:spChg chg="add mod">
          <ac:chgData name="Hickey, Claudette" userId="71e19957-b843-4df7-8271-6169398ba655" providerId="ADAL" clId="{605B0FEE-2EB4-435F-B688-8C9F892A82C3}" dt="2020-06-10T16:21:20.136" v="4604" actId="1037"/>
          <ac:spMkLst>
            <pc:docMk/>
            <pc:sldMk cId="2832400647" sldId="8848"/>
            <ac:spMk id="42" creationId="{7CD20603-A09E-4D0C-9C6A-7BFAFF9F8E1E}"/>
          </ac:spMkLst>
        </pc:spChg>
        <pc:spChg chg="del mod">
          <ac:chgData name="Hickey, Claudette" userId="71e19957-b843-4df7-8271-6169398ba655" providerId="ADAL" clId="{605B0FEE-2EB4-435F-B688-8C9F892A82C3}" dt="2020-06-10T19:34:51.024" v="4693" actId="478"/>
          <ac:spMkLst>
            <pc:docMk/>
            <pc:sldMk cId="2832400647" sldId="8848"/>
            <ac:spMk id="43" creationId="{437F47EF-C5D4-43A1-839D-110503D23C31}"/>
          </ac:spMkLst>
        </pc:spChg>
        <pc:spChg chg="add del mod">
          <ac:chgData name="Hickey, Claudette" userId="71e19957-b843-4df7-8271-6169398ba655" providerId="ADAL" clId="{605B0FEE-2EB4-435F-B688-8C9F892A82C3}" dt="2020-06-10T16:17:09.375" v="4526"/>
          <ac:spMkLst>
            <pc:docMk/>
            <pc:sldMk cId="2832400647" sldId="8848"/>
            <ac:spMk id="43" creationId="{CAF699D8-92B5-4A5A-A6C6-EDA56A03A4C0}"/>
          </ac:spMkLst>
        </pc:spChg>
        <pc:spChg chg="add del mod">
          <ac:chgData name="Hickey, Claudette" userId="71e19957-b843-4df7-8271-6169398ba655" providerId="ADAL" clId="{605B0FEE-2EB4-435F-B688-8C9F892A82C3}" dt="2020-06-10T16:17:09.375" v="4526"/>
          <ac:spMkLst>
            <pc:docMk/>
            <pc:sldMk cId="2832400647" sldId="8848"/>
            <ac:spMk id="44" creationId="{1A8B5673-C7BE-47CE-9707-40924492369A}"/>
          </ac:spMkLst>
        </pc:spChg>
        <pc:spChg chg="del">
          <ac:chgData name="Hickey, Claudette" userId="71e19957-b843-4df7-8271-6169398ba655" providerId="ADAL" clId="{605B0FEE-2EB4-435F-B688-8C9F892A82C3}" dt="2020-06-10T19:42:02.715" v="4767" actId="478"/>
          <ac:spMkLst>
            <pc:docMk/>
            <pc:sldMk cId="2832400647" sldId="8848"/>
            <ac:spMk id="44" creationId="{DDCC52B0-FF38-497A-9407-1E2476D31F38}"/>
          </ac:spMkLst>
        </pc:spChg>
        <pc:spChg chg="add mod">
          <ac:chgData name="Hickey, Claudette" userId="71e19957-b843-4df7-8271-6169398ba655" providerId="ADAL" clId="{605B0FEE-2EB4-435F-B688-8C9F892A82C3}" dt="2020-06-10T16:21:25.149" v="4605" actId="313"/>
          <ac:spMkLst>
            <pc:docMk/>
            <pc:sldMk cId="2832400647" sldId="8848"/>
            <ac:spMk id="45" creationId="{8446BB00-132B-4D48-BFB2-2D62E28B6516}"/>
          </ac:spMkLst>
        </pc:spChg>
        <pc:graphicFrameChg chg="add mod modGraphic">
          <ac:chgData name="Hickey, Claudette" userId="71e19957-b843-4df7-8271-6169398ba655" providerId="ADAL" clId="{605B0FEE-2EB4-435F-B688-8C9F892A82C3}" dt="2020-06-10T16:22:07.874" v="4626" actId="20577"/>
          <ac:graphicFrameMkLst>
            <pc:docMk/>
            <pc:sldMk cId="2832400647" sldId="8848"/>
            <ac:graphicFrameMk id="4" creationId="{080F0C59-3CB7-49D7-8FFD-999E957AF30D}"/>
          </ac:graphicFrameMkLst>
        </pc:graphicFrameChg>
        <pc:graphicFrameChg chg="add mod">
          <ac:chgData name="Hickey, Claudette" userId="71e19957-b843-4df7-8271-6169398ba655" providerId="ADAL" clId="{605B0FEE-2EB4-435F-B688-8C9F892A82C3}" dt="2020-06-10T16:11:35.156" v="4238" actId="571"/>
          <ac:graphicFrameMkLst>
            <pc:docMk/>
            <pc:sldMk cId="2832400647" sldId="8848"/>
            <ac:graphicFrameMk id="31" creationId="{8F5695EA-197E-4414-9E90-FC26076E63F9}"/>
          </ac:graphicFrameMkLst>
        </pc:graphicFrameChg>
      </pc:sldChg>
      <pc:sldChg chg="add del">
        <pc:chgData name="Hickey, Claudette" userId="71e19957-b843-4df7-8271-6169398ba655" providerId="ADAL" clId="{605B0FEE-2EB4-435F-B688-8C9F892A82C3}" dt="2020-06-04T17:57:04.980" v="1671" actId="47"/>
        <pc:sldMkLst>
          <pc:docMk/>
          <pc:sldMk cId="2811544933" sldId="8849"/>
        </pc:sldMkLst>
      </pc:sldChg>
      <pc:sldChg chg="add ord">
        <pc:chgData name="Hickey, Claudette" userId="71e19957-b843-4df7-8271-6169398ba655" providerId="ADAL" clId="{605B0FEE-2EB4-435F-B688-8C9F892A82C3}" dt="2020-06-09T15:31:23.494" v="3793"/>
        <pc:sldMkLst>
          <pc:docMk/>
          <pc:sldMk cId="3690647313" sldId="8849"/>
        </pc:sldMkLst>
      </pc:sldChg>
      <pc:sldChg chg="add del">
        <pc:chgData name="Hickey, Claudette" userId="71e19957-b843-4df7-8271-6169398ba655" providerId="ADAL" clId="{605B0FEE-2EB4-435F-B688-8C9F892A82C3}" dt="2020-06-04T17:58:31.169" v="1683" actId="47"/>
        <pc:sldMkLst>
          <pc:docMk/>
          <pc:sldMk cId="427652091" sldId="8850"/>
        </pc:sldMkLst>
      </pc:sldChg>
      <pc:sldChg chg="addSp modSp new mod modClrScheme chgLayout">
        <pc:chgData name="Hickey, Claudette" userId="71e19957-b843-4df7-8271-6169398ba655" providerId="ADAL" clId="{605B0FEE-2EB4-435F-B688-8C9F892A82C3}" dt="2020-06-09T15:32:11.290" v="3804" actId="20577"/>
        <pc:sldMkLst>
          <pc:docMk/>
          <pc:sldMk cId="1037011745" sldId="8850"/>
        </pc:sldMkLst>
        <pc:spChg chg="add mod">
          <ac:chgData name="Hickey, Claudette" userId="71e19957-b843-4df7-8271-6169398ba655" providerId="ADAL" clId="{605B0FEE-2EB4-435F-B688-8C9F892A82C3}" dt="2020-06-09T15:32:11.290" v="3804" actId="20577"/>
          <ac:spMkLst>
            <pc:docMk/>
            <pc:sldMk cId="1037011745" sldId="8850"/>
            <ac:spMk id="2" creationId="{D1168A7F-4D4D-4599-A6B0-278ED9529DF1}"/>
          </ac:spMkLst>
        </pc:spChg>
      </pc:sldChg>
      <pc:sldMasterChg chg="delSldLayout">
        <pc:chgData name="Hickey, Claudette" userId="71e19957-b843-4df7-8271-6169398ba655" providerId="ADAL" clId="{605B0FEE-2EB4-435F-B688-8C9F892A82C3}" dt="2020-06-04T17:58:34.229" v="1685" actId="47"/>
        <pc:sldMasterMkLst>
          <pc:docMk/>
          <pc:sldMasterMk cId="2564789522" sldId="2147483832"/>
        </pc:sldMasterMkLst>
        <pc:sldLayoutChg chg="del">
          <pc:chgData name="Hickey, Claudette" userId="71e19957-b843-4df7-8271-6169398ba655" providerId="ADAL" clId="{605B0FEE-2EB4-435F-B688-8C9F892A82C3}" dt="2020-06-04T17:58:34.229" v="1685" actId="47"/>
          <pc:sldLayoutMkLst>
            <pc:docMk/>
            <pc:sldMasterMk cId="2564789522" sldId="2147483832"/>
            <pc:sldLayoutMk cId="530301584" sldId="2147483875"/>
          </pc:sldLayoutMkLst>
        </pc:sldLayoutChg>
      </pc:sldMasterChg>
    </pc:docChg>
  </pc:docChgLst>
  <pc:docChgLst>
    <pc:chgData name="Hickey, Claudette" userId="71e19957-b843-4df7-8271-6169398ba655" providerId="ADAL" clId="{F84AE1D4-1461-4A95-8A14-C6B4A580CC86}"/>
    <pc:docChg chg="modSld">
      <pc:chgData name="Hickey, Claudette" userId="71e19957-b843-4df7-8271-6169398ba655" providerId="ADAL" clId="{F84AE1D4-1461-4A95-8A14-C6B4A580CC86}" dt="2020-06-12T15:39:10.393" v="12" actId="20577"/>
      <pc:docMkLst>
        <pc:docMk/>
      </pc:docMkLst>
      <pc:sldChg chg="modSp mod">
        <pc:chgData name="Hickey, Claudette" userId="71e19957-b843-4df7-8271-6169398ba655" providerId="ADAL" clId="{F84AE1D4-1461-4A95-8A14-C6B4A580CC86}" dt="2020-06-12T15:39:10.393" v="12" actId="20577"/>
        <pc:sldMkLst>
          <pc:docMk/>
          <pc:sldMk cId="3780276908" sldId="8824"/>
        </pc:sldMkLst>
        <pc:graphicFrameChg chg="modGraphic">
          <ac:chgData name="Hickey, Claudette" userId="71e19957-b843-4df7-8271-6169398ba655" providerId="ADAL" clId="{F84AE1D4-1461-4A95-8A14-C6B4A580CC86}" dt="2020-06-12T15:39:10.393" v="12" actId="20577"/>
          <ac:graphicFrameMkLst>
            <pc:docMk/>
            <pc:sldMk cId="3780276908" sldId="8824"/>
            <ac:graphicFrameMk id="5" creationId="{00000000-0000-0000-0000-000000000000}"/>
          </ac:graphicFrameMkLst>
        </pc:graphicFrameChg>
      </pc:sldChg>
    </pc:docChg>
  </pc:docChgLst>
  <pc:docChgLst>
    <pc:chgData name="Hickey, Claudette" userId="71e19957-b843-4df7-8271-6169398ba655" providerId="ADAL" clId="{4F9EB973-31D2-4FA4-A877-F825F10C1BDC}"/>
    <pc:docChg chg="undo redo custSel modSld">
      <pc:chgData name="Hickey, Claudette" userId="71e19957-b843-4df7-8271-6169398ba655" providerId="ADAL" clId="{4F9EB973-31D2-4FA4-A877-F825F10C1BDC}" dt="2020-05-06T21:15:21.220" v="151" actId="20577"/>
      <pc:docMkLst>
        <pc:docMk/>
      </pc:docMkLst>
      <pc:sldChg chg="modSp mod">
        <pc:chgData name="Hickey, Claudette" userId="71e19957-b843-4df7-8271-6169398ba655" providerId="ADAL" clId="{4F9EB973-31D2-4FA4-A877-F825F10C1BDC}" dt="2020-05-06T21:15:21.220" v="151" actId="20577"/>
        <pc:sldMkLst>
          <pc:docMk/>
          <pc:sldMk cId="3410172460" sldId="8830"/>
        </pc:sldMkLst>
        <pc:graphicFrameChg chg="mod modGraphic">
          <ac:chgData name="Hickey, Claudette" userId="71e19957-b843-4df7-8271-6169398ba655" providerId="ADAL" clId="{4F9EB973-31D2-4FA4-A877-F825F10C1BDC}" dt="2020-05-06T21:15:21.220" v="151" actId="20577"/>
          <ac:graphicFrameMkLst>
            <pc:docMk/>
            <pc:sldMk cId="3410172460" sldId="8830"/>
            <ac:graphicFrameMk id="3" creationId="{F0966A1D-10A2-4611-9E08-97C25A09CB32}"/>
          </ac:graphicFrameMkLst>
        </pc:graphicFrameChg>
      </pc:sldChg>
    </pc:docChg>
  </pc:docChgLst>
  <pc:docChgLst>
    <pc:chgData name="Hickey, Claudette" userId="71e19957-b843-4df7-8271-6169398ba655" providerId="ADAL" clId="{3E85EBA5-E1B4-49A8-A03C-0E2A4655A893}"/>
    <pc:docChg chg="undo custSel addSld delSld modSld sldOrd">
      <pc:chgData name="Hickey, Claudette" userId="71e19957-b843-4df7-8271-6169398ba655" providerId="ADAL" clId="{3E85EBA5-E1B4-49A8-A03C-0E2A4655A893}" dt="2020-05-13T19:59:23.245" v="4458" actId="1035"/>
      <pc:docMkLst>
        <pc:docMk/>
      </pc:docMkLst>
      <pc:sldChg chg="addSp delSp modSp mod">
        <pc:chgData name="Hickey, Claudette" userId="71e19957-b843-4df7-8271-6169398ba655" providerId="ADAL" clId="{3E85EBA5-E1B4-49A8-A03C-0E2A4655A893}" dt="2020-05-12T20:17:53.221" v="1794" actId="21"/>
        <pc:sldMkLst>
          <pc:docMk/>
          <pc:sldMk cId="3980028277" sldId="278"/>
        </pc:sldMkLst>
        <pc:spChg chg="mod">
          <ac:chgData name="Hickey, Claudette" userId="71e19957-b843-4df7-8271-6169398ba655" providerId="ADAL" clId="{3E85EBA5-E1B4-49A8-A03C-0E2A4655A893}" dt="2020-05-12T20:16:04.133" v="1713" actId="207"/>
          <ac:spMkLst>
            <pc:docMk/>
            <pc:sldMk cId="3980028277" sldId="278"/>
            <ac:spMk id="9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0:13:32.240" v="1576" actId="20577"/>
          <ac:spMkLst>
            <pc:docMk/>
            <pc:sldMk cId="3980028277" sldId="278"/>
            <ac:spMk id="16" creationId="{4929B503-D3D0-49C4-8FD3-0ECC3FF850F9}"/>
          </ac:spMkLst>
        </pc:spChg>
        <pc:spChg chg="del">
          <ac:chgData name="Hickey, Claudette" userId="71e19957-b843-4df7-8271-6169398ba655" providerId="ADAL" clId="{3E85EBA5-E1B4-49A8-A03C-0E2A4655A893}" dt="2020-05-12T19:43:47.763" v="882" actId="478"/>
          <ac:spMkLst>
            <pc:docMk/>
            <pc:sldMk cId="3980028277" sldId="278"/>
            <ac:spMk id="24" creationId="{4929B503-D3D0-49C4-8FD3-0ECC3FF850F9}"/>
          </ac:spMkLst>
        </pc:spChg>
        <pc:spChg chg="mod">
          <ac:chgData name="Hickey, Claudette" userId="71e19957-b843-4df7-8271-6169398ba655" providerId="ADAL" clId="{3E85EBA5-E1B4-49A8-A03C-0E2A4655A893}" dt="2020-05-12T20:17:47.932" v="1793" actId="20577"/>
          <ac:spMkLst>
            <pc:docMk/>
            <pc:sldMk cId="3980028277" sldId="278"/>
            <ac:spMk id="25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0:16:43.520" v="1720" actId="1038"/>
          <ac:spMkLst>
            <pc:docMk/>
            <pc:sldMk cId="3980028277" sldId="278"/>
            <ac:spMk id="27" creationId="{00000000-0000-0000-0000-000000000000}"/>
          </ac:spMkLst>
        </pc:spChg>
        <pc:spChg chg="add del mod">
          <ac:chgData name="Hickey, Claudette" userId="71e19957-b843-4df7-8271-6169398ba655" providerId="ADAL" clId="{3E85EBA5-E1B4-49A8-A03C-0E2A4655A893}" dt="2020-05-12T20:16:39.977" v="1717" actId="478"/>
          <ac:spMkLst>
            <pc:docMk/>
            <pc:sldMk cId="3980028277" sldId="278"/>
            <ac:spMk id="31" creationId="{19C4EF1E-6C7B-40B3-8606-81E403573C3C}"/>
          </ac:spMkLst>
        </pc:spChg>
        <pc:spChg chg="mod">
          <ac:chgData name="Hickey, Claudette" userId="71e19957-b843-4df7-8271-6169398ba655" providerId="ADAL" clId="{3E85EBA5-E1B4-49A8-A03C-0E2A4655A893}" dt="2020-05-12T18:45:47.811" v="851" actId="20577"/>
          <ac:spMkLst>
            <pc:docMk/>
            <pc:sldMk cId="3980028277" sldId="278"/>
            <ac:spMk id="35" creationId="{DB5F5952-110C-439E-9C91-D12812D37E64}"/>
          </ac:spMkLst>
        </pc:spChg>
        <pc:spChg chg="del">
          <ac:chgData name="Hickey, Claudette" userId="71e19957-b843-4df7-8271-6169398ba655" providerId="ADAL" clId="{3E85EBA5-E1B4-49A8-A03C-0E2A4655A893}" dt="2020-05-12T19:43:47.763" v="882" actId="478"/>
          <ac:spMkLst>
            <pc:docMk/>
            <pc:sldMk cId="3980028277" sldId="278"/>
            <ac:spMk id="36" creationId="{71672429-8AEC-4581-A380-101D93FB6FCF}"/>
          </ac:spMkLst>
        </pc:spChg>
        <pc:spChg chg="mod">
          <ac:chgData name="Hickey, Claudette" userId="71e19957-b843-4df7-8271-6169398ba655" providerId="ADAL" clId="{3E85EBA5-E1B4-49A8-A03C-0E2A4655A893}" dt="2020-05-12T14:50:48.446" v="99" actId="20577"/>
          <ac:spMkLst>
            <pc:docMk/>
            <pc:sldMk cId="3980028277" sldId="278"/>
            <ac:spMk id="39" creationId="{5E4D8875-8110-4A47-B729-9254624B6D6D}"/>
          </ac:spMkLst>
        </pc:spChg>
        <pc:graphicFrameChg chg="add del mod">
          <ac:chgData name="Hickey, Claudette" userId="71e19957-b843-4df7-8271-6169398ba655" providerId="ADAL" clId="{3E85EBA5-E1B4-49A8-A03C-0E2A4655A893}" dt="2020-05-12T20:17:53.221" v="1794" actId="21"/>
          <ac:graphicFrameMkLst>
            <pc:docMk/>
            <pc:sldMk cId="3980028277" sldId="278"/>
            <ac:graphicFrameMk id="6" creationId="{5B111BED-F1E0-4B5C-AE37-BDF25DF18A7D}"/>
          </ac:graphicFrameMkLst>
        </pc:graphicFrameChg>
      </pc:sldChg>
      <pc:sldChg chg="addSp delSp modSp mod">
        <pc:chgData name="Hickey, Claudette" userId="71e19957-b843-4df7-8271-6169398ba655" providerId="ADAL" clId="{3E85EBA5-E1B4-49A8-A03C-0E2A4655A893}" dt="2020-05-12T20:26:43.397" v="2265" actId="1038"/>
        <pc:sldMkLst>
          <pc:docMk/>
          <pc:sldMk cId="3479740374" sldId="279"/>
        </pc:sldMkLst>
        <pc:spChg chg="del">
          <ac:chgData name="Hickey, Claudette" userId="71e19957-b843-4df7-8271-6169398ba655" providerId="ADAL" clId="{3E85EBA5-E1B4-49A8-A03C-0E2A4655A893}" dt="2020-05-12T19:50:16.701" v="1096" actId="478"/>
          <ac:spMkLst>
            <pc:docMk/>
            <pc:sldMk cId="3479740374" sldId="279"/>
            <ac:spMk id="15" creationId="{DEABFADE-1FB5-4D90-96F5-E7BF86D23EAD}"/>
          </ac:spMkLst>
        </pc:spChg>
        <pc:spChg chg="del mod">
          <ac:chgData name="Hickey, Claudette" userId="71e19957-b843-4df7-8271-6169398ba655" providerId="ADAL" clId="{3E85EBA5-E1B4-49A8-A03C-0E2A4655A893}" dt="2020-05-12T19:50:13.486" v="1095" actId="478"/>
          <ac:spMkLst>
            <pc:docMk/>
            <pc:sldMk cId="3479740374" sldId="279"/>
            <ac:spMk id="16" creationId="{4929B503-D3D0-49C4-8FD3-0ECC3FF850F9}"/>
          </ac:spMkLst>
        </pc:spChg>
        <pc:spChg chg="mod">
          <ac:chgData name="Hickey, Claudette" userId="71e19957-b843-4df7-8271-6169398ba655" providerId="ADAL" clId="{3E85EBA5-E1B4-49A8-A03C-0E2A4655A893}" dt="2020-05-12T20:26:43.397" v="2265" actId="1038"/>
          <ac:spMkLst>
            <pc:docMk/>
            <pc:sldMk cId="3479740374" sldId="279"/>
            <ac:spMk id="17" creationId="{F491920A-0562-420D-981D-E0F8B99A1CEB}"/>
          </ac:spMkLst>
        </pc:spChg>
        <pc:spChg chg="mod">
          <ac:chgData name="Hickey, Claudette" userId="71e19957-b843-4df7-8271-6169398ba655" providerId="ADAL" clId="{3E85EBA5-E1B4-49A8-A03C-0E2A4655A893}" dt="2020-05-12T20:26:43.397" v="2265" actId="1038"/>
          <ac:spMkLst>
            <pc:docMk/>
            <pc:sldMk cId="3479740374" sldId="279"/>
            <ac:spMk id="19" creationId="{4929B503-D3D0-49C4-8FD3-0ECC3FF850F9}"/>
          </ac:spMkLst>
        </pc:spChg>
        <pc:spChg chg="mod">
          <ac:chgData name="Hickey, Claudette" userId="71e19957-b843-4df7-8271-6169398ba655" providerId="ADAL" clId="{3E85EBA5-E1B4-49A8-A03C-0E2A4655A893}" dt="2020-05-12T20:26:43.397" v="2265" actId="1038"/>
          <ac:spMkLst>
            <pc:docMk/>
            <pc:sldMk cId="3479740374" sldId="279"/>
            <ac:spMk id="20" creationId="{F491920A-0562-420D-981D-E0F8B99A1CEB}"/>
          </ac:spMkLst>
        </pc:spChg>
        <pc:spChg chg="mod">
          <ac:chgData name="Hickey, Claudette" userId="71e19957-b843-4df7-8271-6169398ba655" providerId="ADAL" clId="{3E85EBA5-E1B4-49A8-A03C-0E2A4655A893}" dt="2020-05-12T20:25:29.279" v="2220" actId="552"/>
          <ac:spMkLst>
            <pc:docMk/>
            <pc:sldMk cId="3479740374" sldId="279"/>
            <ac:spMk id="25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0:25:39.988" v="2221" actId="552"/>
          <ac:spMkLst>
            <pc:docMk/>
            <pc:sldMk cId="3479740374" sldId="279"/>
            <ac:spMk id="26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0:25:39.988" v="2221" actId="552"/>
          <ac:spMkLst>
            <pc:docMk/>
            <pc:sldMk cId="3479740374" sldId="279"/>
            <ac:spMk id="27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0:25:29.279" v="2220" actId="552"/>
          <ac:spMkLst>
            <pc:docMk/>
            <pc:sldMk cId="3479740374" sldId="279"/>
            <ac:spMk id="29" creationId="{00000000-0000-0000-0000-000000000000}"/>
          </ac:spMkLst>
        </pc:spChg>
        <pc:spChg chg="del">
          <ac:chgData name="Hickey, Claudette" userId="71e19957-b843-4df7-8271-6169398ba655" providerId="ADAL" clId="{3E85EBA5-E1B4-49A8-A03C-0E2A4655A893}" dt="2020-05-12T20:25:21.319" v="2219" actId="478"/>
          <ac:spMkLst>
            <pc:docMk/>
            <pc:sldMk cId="3479740374" sldId="279"/>
            <ac:spMk id="30" creationId="{00000000-0000-0000-0000-000000000000}"/>
          </ac:spMkLst>
        </pc:spChg>
        <pc:spChg chg="del">
          <ac:chgData name="Hickey, Claudette" userId="71e19957-b843-4df7-8271-6169398ba655" providerId="ADAL" clId="{3E85EBA5-E1B4-49A8-A03C-0E2A4655A893}" dt="2020-05-12T20:25:21.319" v="2219" actId="478"/>
          <ac:spMkLst>
            <pc:docMk/>
            <pc:sldMk cId="3479740374" sldId="279"/>
            <ac:spMk id="31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18:43:44.098" v="803"/>
          <ac:spMkLst>
            <pc:docMk/>
            <pc:sldMk cId="3479740374" sldId="279"/>
            <ac:spMk id="34" creationId="{116CA458-2FFB-4452-83C6-5AFB5EBAB92F}"/>
          </ac:spMkLst>
        </pc:spChg>
        <pc:spChg chg="mod">
          <ac:chgData name="Hickey, Claudette" userId="71e19957-b843-4df7-8271-6169398ba655" providerId="ADAL" clId="{3E85EBA5-E1B4-49A8-A03C-0E2A4655A893}" dt="2020-05-12T20:25:39.988" v="2221" actId="552"/>
          <ac:spMkLst>
            <pc:docMk/>
            <pc:sldMk cId="3479740374" sldId="279"/>
            <ac:spMk id="36" creationId="{8F9E409E-029C-4462-9C70-CECE87459EA4}"/>
          </ac:spMkLst>
        </pc:spChg>
        <pc:spChg chg="mod">
          <ac:chgData name="Hickey, Claudette" userId="71e19957-b843-4df7-8271-6169398ba655" providerId="ADAL" clId="{3E85EBA5-E1B4-49A8-A03C-0E2A4655A893}" dt="2020-05-12T20:26:43.397" v="2265" actId="1038"/>
          <ac:spMkLst>
            <pc:docMk/>
            <pc:sldMk cId="3479740374" sldId="279"/>
            <ac:spMk id="38" creationId="{3D3C48C0-18AE-48BD-8153-5C58429BBB73}"/>
          </ac:spMkLst>
        </pc:spChg>
        <pc:spChg chg="add mod">
          <ac:chgData name="Hickey, Claudette" userId="71e19957-b843-4df7-8271-6169398ba655" providerId="ADAL" clId="{3E85EBA5-E1B4-49A8-A03C-0E2A4655A893}" dt="2020-05-12T20:25:56.080" v="2246" actId="1035"/>
          <ac:spMkLst>
            <pc:docMk/>
            <pc:sldMk cId="3479740374" sldId="279"/>
            <ac:spMk id="39" creationId="{23102C7A-BE82-4A66-B623-66C01A1E6F85}"/>
          </ac:spMkLst>
        </pc:spChg>
        <pc:spChg chg="del topLvl">
          <ac:chgData name="Hickey, Claudette" userId="71e19957-b843-4df7-8271-6169398ba655" providerId="ADAL" clId="{3E85EBA5-E1B4-49A8-A03C-0E2A4655A893}" dt="2020-05-12T19:49:54.877" v="1059" actId="478"/>
          <ac:spMkLst>
            <pc:docMk/>
            <pc:sldMk cId="3479740374" sldId="279"/>
            <ac:spMk id="40" creationId="{30913B7F-98EB-41E5-BFCF-C30A6E681C3C}"/>
          </ac:spMkLst>
        </pc:spChg>
        <pc:spChg chg="add mod">
          <ac:chgData name="Hickey, Claudette" userId="71e19957-b843-4df7-8271-6169398ba655" providerId="ADAL" clId="{3E85EBA5-E1B4-49A8-A03C-0E2A4655A893}" dt="2020-05-12T20:26:08.449" v="2250" actId="1076"/>
          <ac:spMkLst>
            <pc:docMk/>
            <pc:sldMk cId="3479740374" sldId="279"/>
            <ac:spMk id="41" creationId="{B08D8854-353E-4992-9F1A-3FE8DD29AE95}"/>
          </ac:spMkLst>
        </pc:spChg>
        <pc:spChg chg="del topLvl">
          <ac:chgData name="Hickey, Claudette" userId="71e19957-b843-4df7-8271-6169398ba655" providerId="ADAL" clId="{3E85EBA5-E1B4-49A8-A03C-0E2A4655A893}" dt="2020-05-12T19:49:56.362" v="1060" actId="478"/>
          <ac:spMkLst>
            <pc:docMk/>
            <pc:sldMk cId="3479740374" sldId="279"/>
            <ac:spMk id="42" creationId="{CB6ACC35-57D7-40AB-B411-800E04F17489}"/>
          </ac:spMkLst>
        </pc:spChg>
        <pc:spChg chg="mod">
          <ac:chgData name="Hickey, Claudette" userId="71e19957-b843-4df7-8271-6169398ba655" providerId="ADAL" clId="{3E85EBA5-E1B4-49A8-A03C-0E2A4655A893}" dt="2020-05-12T20:25:39.988" v="2221" actId="552"/>
          <ac:spMkLst>
            <pc:docMk/>
            <pc:sldMk cId="3479740374" sldId="279"/>
            <ac:spMk id="43" creationId="{34CBCB91-41A5-4745-8932-40EFCE055C71}"/>
          </ac:spMkLst>
        </pc:spChg>
        <pc:spChg chg="add mod">
          <ac:chgData name="Hickey, Claudette" userId="71e19957-b843-4df7-8271-6169398ba655" providerId="ADAL" clId="{3E85EBA5-E1B4-49A8-A03C-0E2A4655A893}" dt="2020-05-12T20:26:15.024" v="2252" actId="1076"/>
          <ac:spMkLst>
            <pc:docMk/>
            <pc:sldMk cId="3479740374" sldId="279"/>
            <ac:spMk id="44" creationId="{B23B57DB-B7E5-44B8-8670-5A36144B31AC}"/>
          </ac:spMkLst>
        </pc:spChg>
        <pc:spChg chg="add mod">
          <ac:chgData name="Hickey, Claudette" userId="71e19957-b843-4df7-8271-6169398ba655" providerId="ADAL" clId="{3E85EBA5-E1B4-49A8-A03C-0E2A4655A893}" dt="2020-05-12T20:26:11.217" v="2251" actId="1076"/>
          <ac:spMkLst>
            <pc:docMk/>
            <pc:sldMk cId="3479740374" sldId="279"/>
            <ac:spMk id="45" creationId="{97E28964-ECB2-4D9D-BA81-F92425C212F3}"/>
          </ac:spMkLst>
        </pc:spChg>
        <pc:grpChg chg="mod">
          <ac:chgData name="Hickey, Claudette" userId="71e19957-b843-4df7-8271-6169398ba655" providerId="ADAL" clId="{3E85EBA5-E1B4-49A8-A03C-0E2A4655A893}" dt="2020-05-12T19:50:09.498" v="1094" actId="1035"/>
          <ac:grpSpMkLst>
            <pc:docMk/>
            <pc:sldMk cId="3479740374" sldId="279"/>
            <ac:grpSpMk id="32" creationId="{D5DB48A4-FF6E-4D81-935D-98E5944361F7}"/>
          </ac:grpSpMkLst>
        </pc:grpChg>
        <pc:grpChg chg="del">
          <ac:chgData name="Hickey, Claudette" userId="71e19957-b843-4df7-8271-6169398ba655" providerId="ADAL" clId="{3E85EBA5-E1B4-49A8-A03C-0E2A4655A893}" dt="2020-05-12T19:49:54.877" v="1059" actId="478"/>
          <ac:grpSpMkLst>
            <pc:docMk/>
            <pc:sldMk cId="3479740374" sldId="279"/>
            <ac:grpSpMk id="35" creationId="{20B6F91B-89F5-4E60-9330-BBDE913140C2}"/>
          </ac:grpSpMkLst>
        </pc:grpChg>
        <pc:graphicFrameChg chg="add del">
          <ac:chgData name="Hickey, Claudette" userId="71e19957-b843-4df7-8271-6169398ba655" providerId="ADAL" clId="{3E85EBA5-E1B4-49A8-A03C-0E2A4655A893}" dt="2020-05-12T20:18:13.674" v="1796" actId="478"/>
          <ac:graphicFrameMkLst>
            <pc:docMk/>
            <pc:sldMk cId="3479740374" sldId="279"/>
            <ac:graphicFrameMk id="37" creationId="{E62E0429-81C3-4D99-B7DD-FD1E8ECB47B0}"/>
          </ac:graphicFrameMkLst>
        </pc:graphicFrameChg>
        <pc:cxnChg chg="del">
          <ac:chgData name="Hickey, Claudette" userId="71e19957-b843-4df7-8271-6169398ba655" providerId="ADAL" clId="{3E85EBA5-E1B4-49A8-A03C-0E2A4655A893}" dt="2020-05-12T19:49:58.583" v="1061" actId="478"/>
          <ac:cxnSpMkLst>
            <pc:docMk/>
            <pc:sldMk cId="3479740374" sldId="279"/>
            <ac:cxnSpMk id="5" creationId="{00000000-0000-0000-0000-000000000000}"/>
          </ac:cxnSpMkLst>
        </pc:cxnChg>
      </pc:sldChg>
      <pc:sldChg chg="del">
        <pc:chgData name="Hickey, Claudette" userId="71e19957-b843-4df7-8271-6169398ba655" providerId="ADAL" clId="{3E85EBA5-E1B4-49A8-A03C-0E2A4655A893}" dt="2020-05-13T17:31:49.336" v="4298" actId="47"/>
        <pc:sldMkLst>
          <pc:docMk/>
          <pc:sldMk cId="2301788946" sldId="282"/>
        </pc:sldMkLst>
      </pc:sldChg>
      <pc:sldChg chg="addSp delSp modSp add mod">
        <pc:chgData name="Hickey, Claudette" userId="71e19957-b843-4df7-8271-6169398ba655" providerId="ADAL" clId="{3E85EBA5-E1B4-49A8-A03C-0E2A4655A893}" dt="2020-05-13T13:59:09.870" v="4245" actId="14100"/>
        <pc:sldMkLst>
          <pc:docMk/>
          <pc:sldMk cId="1755395930" sldId="284"/>
        </pc:sldMkLst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7" creationId="{00000000-0000-0000-0000-000000000000}"/>
          </ac:spMkLst>
        </pc:spChg>
        <pc:spChg chg="del mod">
          <ac:chgData name="Hickey, Claudette" userId="71e19957-b843-4df7-8271-6169398ba655" providerId="ADAL" clId="{3E85EBA5-E1B4-49A8-A03C-0E2A4655A893}" dt="2020-05-13T12:48:50.265" v="3014" actId="478"/>
          <ac:spMkLst>
            <pc:docMk/>
            <pc:sldMk cId="1755395930" sldId="284"/>
            <ac:spMk id="8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9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8:06.862" v="4192" actId="14100"/>
          <ac:spMkLst>
            <pc:docMk/>
            <pc:sldMk cId="1755395930" sldId="284"/>
            <ac:spMk id="10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8:23.134" v="4193" actId="1076"/>
          <ac:spMkLst>
            <pc:docMk/>
            <pc:sldMk cId="1755395930" sldId="284"/>
            <ac:spMk id="11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8:28.119" v="4194" actId="1076"/>
          <ac:spMkLst>
            <pc:docMk/>
            <pc:sldMk cId="1755395930" sldId="284"/>
            <ac:spMk id="12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8:36.325" v="4195" actId="1076"/>
          <ac:spMkLst>
            <pc:docMk/>
            <pc:sldMk cId="1755395930" sldId="284"/>
            <ac:spMk id="13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14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15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4:21.413" v="4130" actId="1076"/>
          <ac:spMkLst>
            <pc:docMk/>
            <pc:sldMk cId="1755395930" sldId="284"/>
            <ac:spMk id="18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3:51.879" v="4125" actId="1076"/>
          <ac:spMkLst>
            <pc:docMk/>
            <pc:sldMk cId="1755395930" sldId="284"/>
            <ac:spMk id="19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20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7:38.237" v="4190" actId="14100"/>
          <ac:spMkLst>
            <pc:docMk/>
            <pc:sldMk cId="1755395930" sldId="284"/>
            <ac:spMk id="21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7:10.888" v="4187" actId="20577"/>
          <ac:spMkLst>
            <pc:docMk/>
            <pc:sldMk cId="1755395930" sldId="284"/>
            <ac:spMk id="22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23" creationId="{00000000-0000-0000-0000-000000000000}"/>
          </ac:spMkLst>
        </pc:spChg>
        <pc:spChg chg="del mod">
          <ac:chgData name="Hickey, Claudette" userId="71e19957-b843-4df7-8271-6169398ba655" providerId="ADAL" clId="{3E85EBA5-E1B4-49A8-A03C-0E2A4655A893}" dt="2020-05-12T21:43:04.817" v="2636" actId="478"/>
          <ac:spMkLst>
            <pc:docMk/>
            <pc:sldMk cId="1755395930" sldId="284"/>
            <ac:spMk id="25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2T21:40:29.102" v="2542" actId="1076"/>
          <ac:spMkLst>
            <pc:docMk/>
            <pc:sldMk cId="1755395930" sldId="284"/>
            <ac:spMk id="26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27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28" creationId="{00000000-0000-0000-0000-000000000000}"/>
          </ac:spMkLst>
        </pc:spChg>
        <pc:spChg chg="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29" creationId="{00000000-0000-0000-0000-000000000000}"/>
          </ac:spMkLst>
        </pc:spChg>
        <pc:spChg chg="add 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30" creationId="{5A41767E-C0FD-4D40-9111-C7BBEB7A82D5}"/>
          </ac:spMkLst>
        </pc:spChg>
        <pc:spChg chg="add mod">
          <ac:chgData name="Hickey, Claudette" userId="71e19957-b843-4df7-8271-6169398ba655" providerId="ADAL" clId="{3E85EBA5-E1B4-49A8-A03C-0E2A4655A893}" dt="2020-05-13T13:52:06.235" v="4099" actId="1035"/>
          <ac:spMkLst>
            <pc:docMk/>
            <pc:sldMk cId="1755395930" sldId="284"/>
            <ac:spMk id="31" creationId="{BBD833F7-EED3-45F3-8149-BB3D6EB26690}"/>
          </ac:spMkLst>
        </pc:spChg>
        <pc:spChg chg="add mod">
          <ac:chgData name="Hickey, Claudette" userId="71e19957-b843-4df7-8271-6169398ba655" providerId="ADAL" clId="{3E85EBA5-E1B4-49A8-A03C-0E2A4655A893}" dt="2020-05-13T13:54:17.932" v="4129" actId="1076"/>
          <ac:spMkLst>
            <pc:docMk/>
            <pc:sldMk cId="1755395930" sldId="284"/>
            <ac:spMk id="33" creationId="{A067769D-CD10-4E88-849F-65CF83537B3B}"/>
          </ac:spMkLst>
        </pc:spChg>
        <pc:graphicFrameChg chg="mod modGraphic">
          <ac:chgData name="Hickey, Claudette" userId="71e19957-b843-4df7-8271-6169398ba655" providerId="ADAL" clId="{3E85EBA5-E1B4-49A8-A03C-0E2A4655A893}" dt="2020-05-13T13:56:27.096" v="4157"/>
          <ac:graphicFrameMkLst>
            <pc:docMk/>
            <pc:sldMk cId="1755395930" sldId="284"/>
            <ac:graphicFrameMk id="5" creationId="{00000000-0000-0000-0000-000000000000}"/>
          </ac:graphicFrameMkLst>
        </pc:graphicFrameChg>
        <pc:cxnChg chg="mod">
          <ac:chgData name="Hickey, Claudette" userId="71e19957-b843-4df7-8271-6169398ba655" providerId="ADAL" clId="{3E85EBA5-E1B4-49A8-A03C-0E2A4655A893}" dt="2020-05-13T13:54:21.413" v="4130" actId="1076"/>
          <ac:cxnSpMkLst>
            <pc:docMk/>
            <pc:sldMk cId="1755395930" sldId="284"/>
            <ac:cxnSpMk id="6" creationId="{00000000-0000-0000-0000-000000000000}"/>
          </ac:cxnSpMkLst>
        </pc:cxnChg>
        <pc:cxnChg chg="mod">
          <ac:chgData name="Hickey, Claudette" userId="71e19957-b843-4df7-8271-6169398ba655" providerId="ADAL" clId="{3E85EBA5-E1B4-49A8-A03C-0E2A4655A893}" dt="2020-05-13T13:58:52.248" v="4198" actId="1038"/>
          <ac:cxnSpMkLst>
            <pc:docMk/>
            <pc:sldMk cId="1755395930" sldId="284"/>
            <ac:cxnSpMk id="16" creationId="{00000000-0000-0000-0000-000000000000}"/>
          </ac:cxnSpMkLst>
        </pc:cxnChg>
        <pc:cxnChg chg="mod">
          <ac:chgData name="Hickey, Claudette" userId="71e19957-b843-4df7-8271-6169398ba655" providerId="ADAL" clId="{3E85EBA5-E1B4-49A8-A03C-0E2A4655A893}" dt="2020-05-13T13:52:06.235" v="4099" actId="1035"/>
          <ac:cxnSpMkLst>
            <pc:docMk/>
            <pc:sldMk cId="1755395930" sldId="284"/>
            <ac:cxnSpMk id="17" creationId="{00000000-0000-0000-0000-000000000000}"/>
          </ac:cxnSpMkLst>
        </pc:cxnChg>
        <pc:cxnChg chg="mod">
          <ac:chgData name="Hickey, Claudette" userId="71e19957-b843-4df7-8271-6169398ba655" providerId="ADAL" clId="{3E85EBA5-E1B4-49A8-A03C-0E2A4655A893}" dt="2020-05-13T13:52:06.235" v="4099" actId="1035"/>
          <ac:cxnSpMkLst>
            <pc:docMk/>
            <pc:sldMk cId="1755395930" sldId="284"/>
            <ac:cxnSpMk id="24" creationId="{00000000-0000-0000-0000-000000000000}"/>
          </ac:cxnSpMkLst>
        </pc:cxnChg>
        <pc:cxnChg chg="add mod">
          <ac:chgData name="Hickey, Claudette" userId="71e19957-b843-4df7-8271-6169398ba655" providerId="ADAL" clId="{3E85EBA5-E1B4-49A8-A03C-0E2A4655A893}" dt="2020-05-13T13:56:42.396" v="4160" actId="1076"/>
          <ac:cxnSpMkLst>
            <pc:docMk/>
            <pc:sldMk cId="1755395930" sldId="284"/>
            <ac:cxnSpMk id="32" creationId="{279CC63B-D039-4B09-9217-2F669A9E0A88}"/>
          </ac:cxnSpMkLst>
        </pc:cxnChg>
        <pc:cxnChg chg="add mod">
          <ac:chgData name="Hickey, Claudette" userId="71e19957-b843-4df7-8271-6169398ba655" providerId="ADAL" clId="{3E85EBA5-E1B4-49A8-A03C-0E2A4655A893}" dt="2020-05-13T13:59:09.870" v="4245" actId="14100"/>
          <ac:cxnSpMkLst>
            <pc:docMk/>
            <pc:sldMk cId="1755395930" sldId="284"/>
            <ac:cxnSpMk id="37" creationId="{A0E6B548-CE78-43A4-8D3A-B6B3719B4308}"/>
          </ac:cxnSpMkLst>
        </pc:cxnChg>
      </pc:sldChg>
      <pc:sldChg chg="add del">
        <pc:chgData name="Hickey, Claudette" userId="71e19957-b843-4df7-8271-6169398ba655" providerId="ADAL" clId="{3E85EBA5-E1B4-49A8-A03C-0E2A4655A893}" dt="2020-05-13T12:47:34.047" v="2939" actId="47"/>
        <pc:sldMkLst>
          <pc:docMk/>
          <pc:sldMk cId="2446719411" sldId="285"/>
        </pc:sldMkLst>
      </pc:sldChg>
      <pc:sldChg chg="modSp mod ord">
        <pc:chgData name="Hickey, Claudette" userId="71e19957-b843-4df7-8271-6169398ba655" providerId="ADAL" clId="{3E85EBA5-E1B4-49A8-A03C-0E2A4655A893}" dt="2020-05-12T19:49:34.821" v="1058" actId="20577"/>
        <pc:sldMkLst>
          <pc:docMk/>
          <pc:sldMk cId="315564378" sldId="301"/>
        </pc:sldMkLst>
        <pc:spChg chg="mod">
          <ac:chgData name="Hickey, Claudette" userId="71e19957-b843-4df7-8271-6169398ba655" providerId="ADAL" clId="{3E85EBA5-E1B4-49A8-A03C-0E2A4655A893}" dt="2020-05-12T19:49:34.821" v="1058" actId="20577"/>
          <ac:spMkLst>
            <pc:docMk/>
            <pc:sldMk cId="315564378" sldId="301"/>
            <ac:spMk id="2" creationId="{00000000-0000-0000-0000-000000000000}"/>
          </ac:spMkLst>
        </pc:spChg>
      </pc:sldChg>
      <pc:sldChg chg="addSp modSp mod">
        <pc:chgData name="Hickey, Claudette" userId="71e19957-b843-4df7-8271-6169398ba655" providerId="ADAL" clId="{3E85EBA5-E1B4-49A8-A03C-0E2A4655A893}" dt="2020-05-13T19:59:23.245" v="4458" actId="1035"/>
        <pc:sldMkLst>
          <pc:docMk/>
          <pc:sldMk cId="126064161" sldId="530"/>
        </pc:sldMkLst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9" creationId="{8FCE521B-7C3C-4B6A-9C17-3D7549E30EDB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11" creationId="{E892604D-6638-40EB-88B5-85EF86BEE268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15" creationId="{760923A6-1A20-4ACF-BD7F-D30B6305ABA6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17" creationId="{496CF343-A591-4031-B9A8-29B053CD4FC3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19" creationId="{34423B2D-D016-45E9-96C1-66995A75E553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21" creationId="{08B10894-807E-42C3-AD4E-A42F00FB5DFD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23" creationId="{A707305C-39EC-46CD-B770-96B1180E09C0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25" creationId="{5E35344D-084B-409A-9D83-B3B507E9D263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27" creationId="{9B1B36AF-D0F1-4C84-9D30-72BAB00FD00B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29" creationId="{AB40C6EF-0213-4DB3-ACD8-C517C2878A32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0" creationId="{41A094D8-34E2-4350-B2DB-E90683BCB0CF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1" creationId="{8284DC81-C33E-41F1-86C0-67C1FB595A72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2" creationId="{21DB7D57-861F-4C4C-BCA2-45D7A2C4119F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3" creationId="{B0363907-E0CE-4633-9A3F-7A2E6262C0A2}"/>
          </ac:spMkLst>
        </pc:spChg>
        <pc:spChg chg="add 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4" creationId="{D716BCFE-6C70-4FBD-9DD1-26BBAD42FA3D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6" creationId="{355C45B5-9EAE-4C6B-84B3-BED0D246BFBA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7" creationId="{FA5FC4DB-DB61-47B7-B99E-9B1506CB00C6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8" creationId="{D5A28867-2CE2-45C2-8F9A-697C1B46B8A9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39" creationId="{58050FAF-AB66-406C-A20B-57F3052EAB12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0" creationId="{280D8FFC-5880-4BBC-8A68-7DD5FC68FE6D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1" creationId="{77A481BE-1F28-4B2B-B3CB-63CB23A1699B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2" creationId="{0B83A372-9A33-4501-9E6B-DEAEC15513BF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3" creationId="{F52A764C-AEBD-4767-84E6-E68B116D84EE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4" creationId="{467F33E4-AB4D-4221-BD81-B08D85E4557F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7" creationId="{76891EA6-C463-4170-A641-82DB605BD376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49" creationId="{1D1FE4B0-5A1F-4F87-81F8-FE79E869BA7A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51" creationId="{F2E07595-7061-48FD-8F0B-304872AD2878}"/>
          </ac:spMkLst>
        </pc:spChg>
        <pc:spChg chg="mod">
          <ac:chgData name="Hickey, Claudette" userId="71e19957-b843-4df7-8271-6169398ba655" providerId="ADAL" clId="{3E85EBA5-E1B4-49A8-A03C-0E2A4655A893}" dt="2020-05-13T19:59:23.245" v="4458" actId="1035"/>
          <ac:spMkLst>
            <pc:docMk/>
            <pc:sldMk cId="126064161" sldId="530"/>
            <ac:spMk id="53" creationId="{22E83B92-6E08-4CBE-B48F-F98D04E1D7D9}"/>
          </ac:spMkLst>
        </pc:spChg>
      </pc:sldChg>
      <pc:sldChg chg="delSp modSp del mod ord">
        <pc:chgData name="Hickey, Claudette" userId="71e19957-b843-4df7-8271-6169398ba655" providerId="ADAL" clId="{3E85EBA5-E1B4-49A8-A03C-0E2A4655A893}" dt="2020-05-13T12:46:59.075" v="2938" actId="14100"/>
        <pc:sldMkLst>
          <pc:docMk/>
          <pc:sldMk cId="1083497190" sldId="8626"/>
        </pc:sldMkLst>
        <pc:spChg chg="del">
          <ac:chgData name="Hickey, Claudette" userId="71e19957-b843-4df7-8271-6169398ba655" providerId="ADAL" clId="{3E85EBA5-E1B4-49A8-A03C-0E2A4655A893}" dt="2020-05-13T12:30:18.213" v="2684" actId="478"/>
          <ac:spMkLst>
            <pc:docMk/>
            <pc:sldMk cId="1083497190" sldId="8626"/>
            <ac:spMk id="3" creationId="{DCDC4D7C-FB88-4FCD-8D90-27D071737DFA}"/>
          </ac:spMkLst>
        </pc:spChg>
        <pc:spChg chg="mod">
          <ac:chgData name="Hickey, Claudette" userId="71e19957-b843-4df7-8271-6169398ba655" providerId="ADAL" clId="{3E85EBA5-E1B4-49A8-A03C-0E2A4655A893}" dt="2020-05-13T12:44:00.291" v="2936" actId="20577"/>
          <ac:spMkLst>
            <pc:docMk/>
            <pc:sldMk cId="1083497190" sldId="8626"/>
            <ac:spMk id="4" creationId="{2570B0D9-EAF5-4753-A9C7-E1F34ECAE3F0}"/>
          </ac:spMkLst>
        </pc:spChg>
        <pc:spChg chg="mod">
          <ac:chgData name="Hickey, Claudette" userId="71e19957-b843-4df7-8271-6169398ba655" providerId="ADAL" clId="{3E85EBA5-E1B4-49A8-A03C-0E2A4655A893}" dt="2020-05-13T12:40:29.579" v="2867" actId="554"/>
          <ac:spMkLst>
            <pc:docMk/>
            <pc:sldMk cId="1083497190" sldId="8626"/>
            <ac:spMk id="5" creationId="{7432DF73-E2F0-44C9-A421-FE373DAEB24C}"/>
          </ac:spMkLst>
        </pc:spChg>
        <pc:spChg chg="mod">
          <ac:chgData name="Hickey, Claudette" userId="71e19957-b843-4df7-8271-6169398ba655" providerId="ADAL" clId="{3E85EBA5-E1B4-49A8-A03C-0E2A4655A893}" dt="2020-05-13T12:40:29.579" v="2867" actId="554"/>
          <ac:spMkLst>
            <pc:docMk/>
            <pc:sldMk cId="1083497190" sldId="8626"/>
            <ac:spMk id="8" creationId="{2EB419D6-D313-4562-A511-DFA44AD87E35}"/>
          </ac:spMkLst>
        </pc:spChg>
        <pc:spChg chg="mod">
          <ac:chgData name="Hickey, Claudette" userId="71e19957-b843-4df7-8271-6169398ba655" providerId="ADAL" clId="{3E85EBA5-E1B4-49A8-A03C-0E2A4655A893}" dt="2020-05-13T12:43:15.037" v="2933" actId="20577"/>
          <ac:spMkLst>
            <pc:docMk/>
            <pc:sldMk cId="1083497190" sldId="8626"/>
            <ac:spMk id="10" creationId="{29C3E4A6-E1A3-4E23-8E95-695C3705B828}"/>
          </ac:spMkLst>
        </pc:spChg>
        <pc:spChg chg="mod">
          <ac:chgData name="Hickey, Claudette" userId="71e19957-b843-4df7-8271-6169398ba655" providerId="ADAL" clId="{3E85EBA5-E1B4-49A8-A03C-0E2A4655A893}" dt="2020-05-13T12:40:42.568" v="2868" actId="554"/>
          <ac:spMkLst>
            <pc:docMk/>
            <pc:sldMk cId="1083497190" sldId="8626"/>
            <ac:spMk id="36" creationId="{78520038-B3CD-4BEC-BBD2-FFA20791D54E}"/>
          </ac:spMkLst>
        </pc:spChg>
        <pc:spChg chg="mod">
          <ac:chgData name="Hickey, Claudette" userId="71e19957-b843-4df7-8271-6169398ba655" providerId="ADAL" clId="{3E85EBA5-E1B4-49A8-A03C-0E2A4655A893}" dt="2020-05-13T12:40:42.568" v="2868" actId="554"/>
          <ac:spMkLst>
            <pc:docMk/>
            <pc:sldMk cId="1083497190" sldId="8626"/>
            <ac:spMk id="38" creationId="{AF711A80-4F74-4B7F-A510-BDF99C9C5566}"/>
          </ac:spMkLst>
        </pc:spChg>
        <pc:spChg chg="del">
          <ac:chgData name="Hickey, Claudette" userId="71e19957-b843-4df7-8271-6169398ba655" providerId="ADAL" clId="{3E85EBA5-E1B4-49A8-A03C-0E2A4655A893}" dt="2020-05-13T12:38:04.784" v="2845" actId="478"/>
          <ac:spMkLst>
            <pc:docMk/>
            <pc:sldMk cId="1083497190" sldId="8626"/>
            <ac:spMk id="41" creationId="{72FCCA5A-ECA1-4F68-A29E-D16919C6F567}"/>
          </ac:spMkLst>
        </pc:spChg>
        <pc:spChg chg="del">
          <ac:chgData name="Hickey, Claudette" userId="71e19957-b843-4df7-8271-6169398ba655" providerId="ADAL" clId="{3E85EBA5-E1B4-49A8-A03C-0E2A4655A893}" dt="2020-05-13T12:30:30.254" v="2686" actId="478"/>
          <ac:spMkLst>
            <pc:docMk/>
            <pc:sldMk cId="1083497190" sldId="8626"/>
            <ac:spMk id="65" creationId="{3E8117B8-BF9B-456E-B17E-634D3951B1D7}"/>
          </ac:spMkLst>
        </pc:spChg>
        <pc:spChg chg="mod">
          <ac:chgData name="Hickey, Claudette" userId="71e19957-b843-4df7-8271-6169398ba655" providerId="ADAL" clId="{3E85EBA5-E1B4-49A8-A03C-0E2A4655A893}" dt="2020-05-13T12:35:02.422" v="2782" actId="20577"/>
          <ac:spMkLst>
            <pc:docMk/>
            <pc:sldMk cId="1083497190" sldId="8626"/>
            <ac:spMk id="66" creationId="{0E0C28F9-6B4D-4A8B-9BA4-359CB0FD3208}"/>
          </ac:spMkLst>
        </pc:spChg>
        <pc:graphicFrameChg chg="mod modGraphic">
          <ac:chgData name="Hickey, Claudette" userId="71e19957-b843-4df7-8271-6169398ba655" providerId="ADAL" clId="{3E85EBA5-E1B4-49A8-A03C-0E2A4655A893}" dt="2020-05-13T12:46:59.075" v="2938" actId="14100"/>
          <ac:graphicFrameMkLst>
            <pc:docMk/>
            <pc:sldMk cId="1083497190" sldId="8626"/>
            <ac:graphicFrameMk id="13" creationId="{D908C879-80D1-447F-8F0B-81FB39D8A3C7}"/>
          </ac:graphicFrameMkLst>
        </pc:graphicFrameChg>
        <pc:graphicFrameChg chg="del mod modGraphic">
          <ac:chgData name="Hickey, Claudette" userId="71e19957-b843-4df7-8271-6169398ba655" providerId="ADAL" clId="{3E85EBA5-E1B4-49A8-A03C-0E2A4655A893}" dt="2020-05-13T12:43:35.465" v="2934" actId="478"/>
          <ac:graphicFrameMkLst>
            <pc:docMk/>
            <pc:sldMk cId="1083497190" sldId="8626"/>
            <ac:graphicFrameMk id="28" creationId="{BF2AC79A-419B-472A-AEEE-3B2664F728DD}"/>
          </ac:graphicFrameMkLst>
        </pc:graphicFrameChg>
        <pc:graphicFrameChg chg="mod modGraphic">
          <ac:chgData name="Hickey, Claudette" userId="71e19957-b843-4df7-8271-6169398ba655" providerId="ADAL" clId="{3E85EBA5-E1B4-49A8-A03C-0E2A4655A893}" dt="2020-05-13T12:41:22.669" v="2885" actId="1076"/>
          <ac:graphicFrameMkLst>
            <pc:docMk/>
            <pc:sldMk cId="1083497190" sldId="8626"/>
            <ac:graphicFrameMk id="49" creationId="{1BBDC9A9-D576-40EE-A248-A89E15A98AA5}"/>
          </ac:graphicFrameMkLst>
        </pc:graphicFrameChg>
      </pc:sldChg>
      <pc:sldChg chg="modSp add mod">
        <pc:chgData name="Hickey, Claudette" userId="71e19957-b843-4df7-8271-6169398ba655" providerId="ADAL" clId="{3E85EBA5-E1B4-49A8-A03C-0E2A4655A893}" dt="2020-05-13T17:30:50.233" v="4297" actId="20577"/>
        <pc:sldMkLst>
          <pc:docMk/>
          <pc:sldMk cId="3244750117" sldId="8646"/>
        </pc:sldMkLst>
        <pc:spChg chg="mod">
          <ac:chgData name="Hickey, Claudette" userId="71e19957-b843-4df7-8271-6169398ba655" providerId="ADAL" clId="{3E85EBA5-E1B4-49A8-A03C-0E2A4655A893}" dt="2020-05-13T14:04:04.287" v="4263" actId="20577"/>
          <ac:spMkLst>
            <pc:docMk/>
            <pc:sldMk cId="3244750117" sldId="8646"/>
            <ac:spMk id="147" creationId="{EED84E7F-DE45-49DB-B926-A44450395384}"/>
          </ac:spMkLst>
        </pc:spChg>
        <pc:spChg chg="mod">
          <ac:chgData name="Hickey, Claudette" userId="71e19957-b843-4df7-8271-6169398ba655" providerId="ADAL" clId="{3E85EBA5-E1B4-49A8-A03C-0E2A4655A893}" dt="2020-05-13T17:30:32.240" v="4285" actId="20577"/>
          <ac:spMkLst>
            <pc:docMk/>
            <pc:sldMk cId="3244750117" sldId="8646"/>
            <ac:spMk id="180" creationId="{2A958183-B2D9-4B28-8B5C-672C66974F09}"/>
          </ac:spMkLst>
        </pc:spChg>
        <pc:spChg chg="mod">
          <ac:chgData name="Hickey, Claudette" userId="71e19957-b843-4df7-8271-6169398ba655" providerId="ADAL" clId="{3E85EBA5-E1B4-49A8-A03C-0E2A4655A893}" dt="2020-05-13T17:30:50.233" v="4297" actId="20577"/>
          <ac:spMkLst>
            <pc:docMk/>
            <pc:sldMk cId="3244750117" sldId="8646"/>
            <ac:spMk id="183" creationId="{C5FDEF13-DA13-4BD2-9C0E-D401B0720314}"/>
          </ac:spMkLst>
        </pc:spChg>
      </pc:sldChg>
      <pc:sldChg chg="modSp add mod ord">
        <pc:chgData name="Hickey, Claudette" userId="71e19957-b843-4df7-8271-6169398ba655" providerId="ADAL" clId="{3E85EBA5-E1B4-49A8-A03C-0E2A4655A893}" dt="2020-05-12T19:49:14.674" v="1026"/>
        <pc:sldMkLst>
          <pc:docMk/>
          <pc:sldMk cId="3468477970" sldId="8745"/>
        </pc:sldMkLst>
        <pc:spChg chg="mod">
          <ac:chgData name="Hickey, Claudette" userId="71e19957-b843-4df7-8271-6169398ba655" providerId="ADAL" clId="{3E85EBA5-E1B4-49A8-A03C-0E2A4655A893}" dt="2020-05-12T19:48:17.234" v="1022" actId="20577"/>
          <ac:spMkLst>
            <pc:docMk/>
            <pc:sldMk cId="3468477970" sldId="8745"/>
            <ac:spMk id="2" creationId="{255E39E1-EB11-4AA4-B3F0-A2AB457DB8EA}"/>
          </ac:spMkLst>
        </pc:spChg>
        <pc:spChg chg="mod">
          <ac:chgData name="Hickey, Claudette" userId="71e19957-b843-4df7-8271-6169398ba655" providerId="ADAL" clId="{3E85EBA5-E1B4-49A8-A03C-0E2A4655A893}" dt="2020-05-12T19:47:24.534" v="950" actId="20577"/>
          <ac:spMkLst>
            <pc:docMk/>
            <pc:sldMk cId="3468477970" sldId="8745"/>
            <ac:spMk id="73" creationId="{72DF4F19-2F7B-4C32-AC77-DED7EF60AB53}"/>
          </ac:spMkLst>
        </pc:spChg>
        <pc:spChg chg="mod">
          <ac:chgData name="Hickey, Claudette" userId="71e19957-b843-4df7-8271-6169398ba655" providerId="ADAL" clId="{3E85EBA5-E1B4-49A8-A03C-0E2A4655A893}" dt="2020-05-12T19:48:05.683" v="1021" actId="20577"/>
          <ac:spMkLst>
            <pc:docMk/>
            <pc:sldMk cId="3468477970" sldId="8745"/>
            <ac:spMk id="74" creationId="{14583FF8-2308-4656-9EEB-D39AE0FB2E03}"/>
          </ac:spMkLst>
        </pc:spChg>
      </pc:sldChg>
      <pc:sldChg chg="add ord">
        <pc:chgData name="Hickey, Claudette" userId="71e19957-b843-4df7-8271-6169398ba655" providerId="ADAL" clId="{3E85EBA5-E1B4-49A8-A03C-0E2A4655A893}" dt="2020-05-12T19:49:14.674" v="1026"/>
        <pc:sldMkLst>
          <pc:docMk/>
          <pc:sldMk cId="3791396761" sldId="8809"/>
        </pc:sldMkLst>
      </pc:sldChg>
      <pc:sldChg chg="addSp delSp modSp mod">
        <pc:chgData name="Hickey, Claudette" userId="71e19957-b843-4df7-8271-6169398ba655" providerId="ADAL" clId="{3E85EBA5-E1B4-49A8-A03C-0E2A4655A893}" dt="2020-05-13T12:32:06.104" v="2703" actId="478"/>
        <pc:sldMkLst>
          <pc:docMk/>
          <pc:sldMk cId="4169436587" sldId="8823"/>
        </pc:sldMkLst>
        <pc:spChg chg="mod">
          <ac:chgData name="Hickey, Claudette" userId="71e19957-b843-4df7-8271-6169398ba655" providerId="ADAL" clId="{3E85EBA5-E1B4-49A8-A03C-0E2A4655A893}" dt="2020-05-13T12:31:55.949" v="2702" actId="20577"/>
          <ac:spMkLst>
            <pc:docMk/>
            <pc:sldMk cId="4169436587" sldId="8823"/>
            <ac:spMk id="19" creationId="{4591AA9E-73CE-43A2-8D59-D7C0AB100375}"/>
          </ac:spMkLst>
        </pc:spChg>
        <pc:graphicFrameChg chg="add del">
          <ac:chgData name="Hickey, Claudette" userId="71e19957-b843-4df7-8271-6169398ba655" providerId="ADAL" clId="{3E85EBA5-E1B4-49A8-A03C-0E2A4655A893}" dt="2020-05-13T12:32:06.104" v="2703" actId="478"/>
          <ac:graphicFrameMkLst>
            <pc:docMk/>
            <pc:sldMk cId="4169436587" sldId="8823"/>
            <ac:graphicFrameMk id="2" creationId="{2526FF24-19D7-4986-8BC5-FED2AE9E1A6F}"/>
          </ac:graphicFrameMkLst>
        </pc:graphicFrameChg>
      </pc:sldChg>
      <pc:sldChg chg="addSp modSp mod">
        <pc:chgData name="Hickey, Claudette" userId="71e19957-b843-4df7-8271-6169398ba655" providerId="ADAL" clId="{3E85EBA5-E1B4-49A8-A03C-0E2A4655A893}" dt="2020-05-12T18:15:50.974" v="800" actId="20577"/>
        <pc:sldMkLst>
          <pc:docMk/>
          <pc:sldMk cId="3974141211" sldId="8827"/>
        </pc:sldMkLst>
        <pc:spChg chg="mod">
          <ac:chgData name="Hickey, Claudette" userId="71e19957-b843-4df7-8271-6169398ba655" providerId="ADAL" clId="{3E85EBA5-E1B4-49A8-A03C-0E2A4655A893}" dt="2020-05-12T18:15:50.974" v="800" actId="20577"/>
          <ac:spMkLst>
            <pc:docMk/>
            <pc:sldMk cId="3974141211" sldId="8827"/>
            <ac:spMk id="4" creationId="{2D9915DD-980F-4857-A02C-C7AEA3C3168D}"/>
          </ac:spMkLst>
        </pc:spChg>
        <pc:spChg chg="add mod ord">
          <ac:chgData name="Hickey, Claudette" userId="71e19957-b843-4df7-8271-6169398ba655" providerId="ADAL" clId="{3E85EBA5-E1B4-49A8-A03C-0E2A4655A893}" dt="2020-05-12T18:15:47.474" v="799" actId="167"/>
          <ac:spMkLst>
            <pc:docMk/>
            <pc:sldMk cId="3974141211" sldId="8827"/>
            <ac:spMk id="27" creationId="{1E0FAA8C-DB77-4DAF-AEE6-455E598A0686}"/>
          </ac:spMkLst>
        </pc:spChg>
      </pc:sldChg>
      <pc:sldChg chg="addSp modSp mod">
        <pc:chgData name="Hickey, Claudette" userId="71e19957-b843-4df7-8271-6169398ba655" providerId="ADAL" clId="{3E85EBA5-E1B4-49A8-A03C-0E2A4655A893}" dt="2020-05-13T19:57:19.411" v="4380" actId="1036"/>
        <pc:sldMkLst>
          <pc:docMk/>
          <pc:sldMk cId="410256699" sldId="8829"/>
        </pc:sldMkLst>
        <pc:spChg chg="mod">
          <ac:chgData name="Hickey, Claudette" userId="71e19957-b843-4df7-8271-6169398ba655" providerId="ADAL" clId="{3E85EBA5-E1B4-49A8-A03C-0E2A4655A893}" dt="2020-05-12T21:33:58.794" v="2348" actId="14100"/>
          <ac:spMkLst>
            <pc:docMk/>
            <pc:sldMk cId="410256699" sldId="8829"/>
            <ac:spMk id="7" creationId="{427E905C-9117-407B-876A-B94255372A4F}"/>
          </ac:spMkLst>
        </pc:spChg>
        <pc:spChg chg="add mod">
          <ac:chgData name="Hickey, Claudette" userId="71e19957-b843-4df7-8271-6169398ba655" providerId="ADAL" clId="{3E85EBA5-E1B4-49A8-A03C-0E2A4655A893}" dt="2020-05-13T19:57:19.411" v="4380" actId="1036"/>
          <ac:spMkLst>
            <pc:docMk/>
            <pc:sldMk cId="410256699" sldId="8829"/>
            <ac:spMk id="46" creationId="{27EA6722-7C9A-4F35-9516-43031D892719}"/>
          </ac:spMkLst>
        </pc:spChg>
        <pc:spChg chg="add mod">
          <ac:chgData name="Hickey, Claudette" userId="71e19957-b843-4df7-8271-6169398ba655" providerId="ADAL" clId="{3E85EBA5-E1B4-49A8-A03C-0E2A4655A893}" dt="2020-05-13T19:57:19.411" v="4380" actId="1036"/>
          <ac:spMkLst>
            <pc:docMk/>
            <pc:sldMk cId="410256699" sldId="8829"/>
            <ac:spMk id="50" creationId="{1676ACEA-2C13-4B31-81CC-AE36EA18FB67}"/>
          </ac:spMkLst>
        </pc:spChg>
        <pc:spChg chg="mod">
          <ac:chgData name="Hickey, Claudette" userId="71e19957-b843-4df7-8271-6169398ba655" providerId="ADAL" clId="{3E85EBA5-E1B4-49A8-A03C-0E2A4655A893}" dt="2020-05-12T18:25:01.959" v="802" actId="20577"/>
          <ac:spMkLst>
            <pc:docMk/>
            <pc:sldMk cId="410256699" sldId="8829"/>
            <ac:spMk id="73" creationId="{91D54D0B-00CA-4062-BB36-9A986CF09217}"/>
          </ac:spMkLst>
        </pc:spChg>
      </pc:sldChg>
      <pc:sldChg chg="modSp mod ord">
        <pc:chgData name="Hickey, Claudette" userId="71e19957-b843-4df7-8271-6169398ba655" providerId="ADAL" clId="{3E85EBA5-E1B4-49A8-A03C-0E2A4655A893}" dt="2020-05-12T19:48:35.265" v="1024"/>
        <pc:sldMkLst>
          <pc:docMk/>
          <pc:sldMk cId="3410172460" sldId="8830"/>
        </pc:sldMkLst>
        <pc:graphicFrameChg chg="mod modGraphic">
          <ac:chgData name="Hickey, Claudette" userId="71e19957-b843-4df7-8271-6169398ba655" providerId="ADAL" clId="{3E85EBA5-E1B4-49A8-A03C-0E2A4655A893}" dt="2020-05-12T18:47:04.957" v="880" actId="14100"/>
          <ac:graphicFrameMkLst>
            <pc:docMk/>
            <pc:sldMk cId="3410172460" sldId="8830"/>
            <ac:graphicFrameMk id="3" creationId="{F0966A1D-10A2-4611-9E08-97C25A09CB32}"/>
          </ac:graphicFrameMkLst>
        </pc:graphicFrameChg>
      </pc:sldChg>
      <pc:sldChg chg="delSp modSp add mod ord">
        <pc:chgData name="Hickey, Claudette" userId="71e19957-b843-4df7-8271-6169398ba655" providerId="ADAL" clId="{3E85EBA5-E1B4-49A8-A03C-0E2A4655A893}" dt="2020-05-13T12:27:28.624" v="2683"/>
        <pc:sldMkLst>
          <pc:docMk/>
          <pc:sldMk cId="2384606128" sldId="8837"/>
        </pc:sldMkLst>
        <pc:spChg chg="del">
          <ac:chgData name="Hickey, Claudette" userId="71e19957-b843-4df7-8271-6169398ba655" providerId="ADAL" clId="{3E85EBA5-E1B4-49A8-A03C-0E2A4655A893}" dt="2020-05-13T12:27:28.624" v="2683"/>
          <ac:spMkLst>
            <pc:docMk/>
            <pc:sldMk cId="2384606128" sldId="8837"/>
            <ac:spMk id="3" creationId="{5DD65369-4BF7-453F-AEAE-29B114D124A8}"/>
          </ac:spMkLst>
        </pc:spChg>
        <pc:spChg chg="mod">
          <ac:chgData name="Hickey, Claudette" userId="71e19957-b843-4df7-8271-6169398ba655" providerId="ADAL" clId="{3E85EBA5-E1B4-49A8-A03C-0E2A4655A893}" dt="2020-05-12T18:10:05.176" v="796" actId="1076"/>
          <ac:spMkLst>
            <pc:docMk/>
            <pc:sldMk cId="2384606128" sldId="8837"/>
            <ac:spMk id="39" creationId="{A60F149C-8B27-44D5-886C-48E372B61C7C}"/>
          </ac:spMkLst>
        </pc:spChg>
      </pc:sldChg>
      <pc:sldChg chg="add">
        <pc:chgData name="Hickey, Claudette" userId="71e19957-b843-4df7-8271-6169398ba655" providerId="ADAL" clId="{3E85EBA5-E1B4-49A8-A03C-0E2A4655A893}" dt="2020-05-12T19:49:18.360" v="1027"/>
        <pc:sldMkLst>
          <pc:docMk/>
          <pc:sldMk cId="3364856458" sldId="8843"/>
        </pc:sldMkLst>
      </pc:sldChg>
      <pc:sldChg chg="add ord">
        <pc:chgData name="Hickey, Claudette" userId="71e19957-b843-4df7-8271-6169398ba655" providerId="ADAL" clId="{3E85EBA5-E1B4-49A8-A03C-0E2A4655A893}" dt="2020-05-13T12:33:18.171" v="2717"/>
        <pc:sldMkLst>
          <pc:docMk/>
          <pc:sldMk cId="647408481" sldId="8844"/>
        </pc:sldMkLst>
      </pc:sldChg>
    </pc:docChg>
  </pc:docChgLst>
  <pc:docChgLst>
    <pc:chgData name="Filkins, Kathleen R" userId="S::filkinsk@aetna.com::181353d5-bf34-4dfc-b53c-88ff1d983629" providerId="AD" clId="Web-{62AAEE17-76FF-A609-C9B2-87B6901356A5}"/>
    <pc:docChg chg="delSld">
      <pc:chgData name="Filkins, Kathleen R" userId="S::filkinsk@aetna.com::181353d5-bf34-4dfc-b53c-88ff1d983629" providerId="AD" clId="Web-{62AAEE17-76FF-A609-C9B2-87B6901356A5}" dt="2020-06-10T15:57:24.870" v="1"/>
      <pc:docMkLst>
        <pc:docMk/>
      </pc:docMkLst>
      <pc:sldChg chg="del">
        <pc:chgData name="Filkins, Kathleen R" userId="S::filkinsk@aetna.com::181353d5-bf34-4dfc-b53c-88ff1d983629" providerId="AD" clId="Web-{62AAEE17-76FF-A609-C9B2-87B6901356A5}" dt="2020-06-10T15:57:18.838" v="0"/>
        <pc:sldMkLst>
          <pc:docMk/>
          <pc:sldMk cId="3637901971" sldId="479"/>
        </pc:sldMkLst>
      </pc:sldChg>
      <pc:sldChg chg="del">
        <pc:chgData name="Filkins, Kathleen R" userId="S::filkinsk@aetna.com::181353d5-bf34-4dfc-b53c-88ff1d983629" providerId="AD" clId="Web-{62AAEE17-76FF-A609-C9B2-87B6901356A5}" dt="2020-06-10T15:57:24.870" v="1"/>
        <pc:sldMkLst>
          <pc:docMk/>
          <pc:sldMk cId="392543565" sldId="495"/>
        </pc:sldMkLst>
      </pc:sldChg>
    </pc:docChg>
  </pc:docChgLst>
  <pc:docChgLst>
    <pc:chgData name="Hickey, Claudette" userId="71e19957-b843-4df7-8271-6169398ba655" providerId="ADAL" clId="{361AD386-DA06-47C4-9A9E-F392CDE3958E}"/>
    <pc:docChg chg="addSld delSld modSld">
      <pc:chgData name="Hickey, Claudette" userId="71e19957-b843-4df7-8271-6169398ba655" providerId="ADAL" clId="{361AD386-DA06-47C4-9A9E-F392CDE3958E}" dt="2020-05-14T16:55:11.109" v="1" actId="47"/>
      <pc:docMkLst>
        <pc:docMk/>
      </pc:docMkLst>
      <pc:sldChg chg="del">
        <pc:chgData name="Hickey, Claudette" userId="71e19957-b843-4df7-8271-6169398ba655" providerId="ADAL" clId="{361AD386-DA06-47C4-9A9E-F392CDE3958E}" dt="2020-05-14T16:55:11.109" v="1" actId="47"/>
        <pc:sldMkLst>
          <pc:docMk/>
          <pc:sldMk cId="1083497190" sldId="8626"/>
        </pc:sldMkLst>
      </pc:sldChg>
      <pc:sldChg chg="add">
        <pc:chgData name="Hickey, Claudette" userId="71e19957-b843-4df7-8271-6169398ba655" providerId="ADAL" clId="{361AD386-DA06-47C4-9A9E-F392CDE3958E}" dt="2020-05-14T16:54:58.402" v="0"/>
        <pc:sldMkLst>
          <pc:docMk/>
          <pc:sldMk cId="2209886917" sldId="8845"/>
        </pc:sldMkLst>
      </pc:sldChg>
    </pc:docChg>
  </pc:docChgLst>
  <pc:docChgLst>
    <pc:chgData name="Hickey, Claudette" userId="71e19957-b843-4df7-8271-6169398ba655" providerId="ADAL" clId="{B168D0EE-914A-4CD0-ACA4-A7E24191D53B}"/>
    <pc:docChg chg="undo custSel addSld delSld modSld sldOrd">
      <pc:chgData name="Hickey, Claudette" userId="71e19957-b843-4df7-8271-6169398ba655" providerId="ADAL" clId="{B168D0EE-914A-4CD0-ACA4-A7E24191D53B}" dt="2020-05-01T16:17:13.523" v="3426" actId="403"/>
      <pc:docMkLst>
        <pc:docMk/>
      </pc:docMkLst>
      <pc:sldChg chg="del ord">
        <pc:chgData name="Hickey, Claudette" userId="71e19957-b843-4df7-8271-6169398ba655" providerId="ADAL" clId="{B168D0EE-914A-4CD0-ACA4-A7E24191D53B}" dt="2020-04-30T16:16:51.336" v="972" actId="47"/>
        <pc:sldMkLst>
          <pc:docMk/>
          <pc:sldMk cId="1002265503" sldId="268"/>
        </pc:sldMkLst>
      </pc:sldChg>
      <pc:sldChg chg="modSp add mod">
        <pc:chgData name="Hickey, Claudette" userId="71e19957-b843-4df7-8271-6169398ba655" providerId="ADAL" clId="{B168D0EE-914A-4CD0-ACA4-A7E24191D53B}" dt="2020-04-30T20:43:50.225" v="3337" actId="313"/>
        <pc:sldMkLst>
          <pc:docMk/>
          <pc:sldMk cId="692086069" sldId="273"/>
        </pc:sldMkLst>
        <pc:spChg chg="mod">
          <ac:chgData name="Hickey, Claudette" userId="71e19957-b843-4df7-8271-6169398ba655" providerId="ADAL" clId="{B168D0EE-914A-4CD0-ACA4-A7E24191D53B}" dt="2020-04-30T20:43:39.575" v="3336" actId="20577"/>
          <ac:spMkLst>
            <pc:docMk/>
            <pc:sldMk cId="692086069" sldId="273"/>
            <ac:spMk id="3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20:43:50.225" v="3337" actId="313"/>
          <ac:spMkLst>
            <pc:docMk/>
            <pc:sldMk cId="692086069" sldId="273"/>
            <ac:spMk id="16" creationId="{CB5D12FB-FF24-4F81-84A8-B6855780FA57}"/>
          </ac:spMkLst>
        </pc:spChg>
        <pc:spChg chg="mod">
          <ac:chgData name="Hickey, Claudette" userId="71e19957-b843-4df7-8271-6169398ba655" providerId="ADAL" clId="{B168D0EE-914A-4CD0-ACA4-A7E24191D53B}" dt="2020-04-30T15:45:57.130" v="11" actId="113"/>
          <ac:spMkLst>
            <pc:docMk/>
            <pc:sldMk cId="692086069" sldId="273"/>
            <ac:spMk id="17" creationId="{05745967-7367-4DAD-B714-7E64C7F7BAA4}"/>
          </ac:spMkLst>
        </pc:spChg>
        <pc:spChg chg="mod">
          <ac:chgData name="Hickey, Claudette" userId="71e19957-b843-4df7-8271-6169398ba655" providerId="ADAL" clId="{B168D0EE-914A-4CD0-ACA4-A7E24191D53B}" dt="2020-04-30T20:23:36.310" v="1875" actId="20577"/>
          <ac:spMkLst>
            <pc:docMk/>
            <pc:sldMk cId="692086069" sldId="273"/>
            <ac:spMk id="23" creationId="{CB5D12FB-FF24-4F81-84A8-B6855780FA57}"/>
          </ac:spMkLst>
        </pc:spChg>
        <pc:spChg chg="mod">
          <ac:chgData name="Hickey, Claudette" userId="71e19957-b843-4df7-8271-6169398ba655" providerId="ADAL" clId="{B168D0EE-914A-4CD0-ACA4-A7E24191D53B}" dt="2020-04-30T20:27:23.759" v="2269" actId="20577"/>
          <ac:spMkLst>
            <pc:docMk/>
            <pc:sldMk cId="692086069" sldId="273"/>
            <ac:spMk id="24" creationId="{05745967-7367-4DAD-B714-7E64C7F7BAA4}"/>
          </ac:spMkLst>
        </pc:spChg>
      </pc:sldChg>
      <pc:sldChg chg="modSp mod">
        <pc:chgData name="Hickey, Claudette" userId="71e19957-b843-4df7-8271-6169398ba655" providerId="ADAL" clId="{B168D0EE-914A-4CD0-ACA4-A7E24191D53B}" dt="2020-04-30T21:11:06.940" v="3371" actId="20577"/>
        <pc:sldMkLst>
          <pc:docMk/>
          <pc:sldMk cId="3980028277" sldId="278"/>
        </pc:sldMkLst>
        <pc:spChg chg="mod">
          <ac:chgData name="Hickey, Claudette" userId="71e19957-b843-4df7-8271-6169398ba655" providerId="ADAL" clId="{B168D0EE-914A-4CD0-ACA4-A7E24191D53B}" dt="2020-04-30T21:11:06.940" v="3371" actId="20577"/>
          <ac:spMkLst>
            <pc:docMk/>
            <pc:sldMk cId="3980028277" sldId="278"/>
            <ac:spMk id="25" creationId="{00000000-0000-0000-0000-000000000000}"/>
          </ac:spMkLst>
        </pc:spChg>
      </pc:sldChg>
      <pc:sldChg chg="ord">
        <pc:chgData name="Hickey, Claudette" userId="71e19957-b843-4df7-8271-6169398ba655" providerId="ADAL" clId="{B168D0EE-914A-4CD0-ACA4-A7E24191D53B}" dt="2020-04-30T15:45:19.034" v="8"/>
        <pc:sldMkLst>
          <pc:docMk/>
          <pc:sldMk cId="1122392241" sldId="590"/>
        </pc:sldMkLst>
      </pc:sldChg>
      <pc:sldChg chg="modSp mod">
        <pc:chgData name="Hickey, Claudette" userId="71e19957-b843-4df7-8271-6169398ba655" providerId="ADAL" clId="{B168D0EE-914A-4CD0-ACA4-A7E24191D53B}" dt="2020-04-30T15:43:23.430" v="1" actId="313"/>
        <pc:sldMkLst>
          <pc:docMk/>
          <pc:sldMk cId="1083497190" sldId="8626"/>
        </pc:sldMkLst>
        <pc:spChg chg="mod">
          <ac:chgData name="Hickey, Claudette" userId="71e19957-b843-4df7-8271-6169398ba655" providerId="ADAL" clId="{B168D0EE-914A-4CD0-ACA4-A7E24191D53B}" dt="2020-04-30T15:43:23.430" v="1" actId="313"/>
          <ac:spMkLst>
            <pc:docMk/>
            <pc:sldMk cId="1083497190" sldId="8626"/>
            <ac:spMk id="8" creationId="{2EB419D6-D313-4562-A511-DFA44AD87E35}"/>
          </ac:spMkLst>
        </pc:spChg>
      </pc:sldChg>
      <pc:sldChg chg="del">
        <pc:chgData name="Hickey, Claudette" userId="71e19957-b843-4df7-8271-6169398ba655" providerId="ADAL" clId="{B168D0EE-914A-4CD0-ACA4-A7E24191D53B}" dt="2020-04-30T15:44:37.816" v="3" actId="47"/>
        <pc:sldMkLst>
          <pc:docMk/>
          <pc:sldMk cId="3569048953" sldId="8653"/>
        </pc:sldMkLst>
      </pc:sldChg>
      <pc:sldChg chg="modSp mod">
        <pc:chgData name="Hickey, Claudette" userId="71e19957-b843-4df7-8271-6169398ba655" providerId="ADAL" clId="{B168D0EE-914A-4CD0-ACA4-A7E24191D53B}" dt="2020-04-30T16:25:39.713" v="1049" actId="20577"/>
        <pc:sldMkLst>
          <pc:docMk/>
          <pc:sldMk cId="4169436587" sldId="8823"/>
        </pc:sldMkLst>
        <pc:spChg chg="mod">
          <ac:chgData name="Hickey, Claudette" userId="71e19957-b843-4df7-8271-6169398ba655" providerId="ADAL" clId="{B168D0EE-914A-4CD0-ACA4-A7E24191D53B}" dt="2020-04-30T16:25:39.713" v="1049" actId="20577"/>
          <ac:spMkLst>
            <pc:docMk/>
            <pc:sldMk cId="4169436587" sldId="8823"/>
            <ac:spMk id="19" creationId="{4591AA9E-73CE-43A2-8D59-D7C0AB100375}"/>
          </ac:spMkLst>
        </pc:spChg>
      </pc:sldChg>
      <pc:sldChg chg="modSp mod delCm modCm">
        <pc:chgData name="Hickey, Claudette" userId="71e19957-b843-4df7-8271-6169398ba655" providerId="ADAL" clId="{B168D0EE-914A-4CD0-ACA4-A7E24191D53B}" dt="2020-04-30T21:10:40.624" v="3357" actId="20577"/>
        <pc:sldMkLst>
          <pc:docMk/>
          <pc:sldMk cId="3974141211" sldId="8827"/>
        </pc:sldMkLst>
        <pc:spChg chg="mod">
          <ac:chgData name="Hickey, Claudette" userId="71e19957-b843-4df7-8271-6169398ba655" providerId="ADAL" clId="{B168D0EE-914A-4CD0-ACA4-A7E24191D53B}" dt="2020-04-30T21:10:40.624" v="3357" actId="20577"/>
          <ac:spMkLst>
            <pc:docMk/>
            <pc:sldMk cId="3974141211" sldId="8827"/>
            <ac:spMk id="83" creationId="{FDDA3715-2872-4BA2-9C9A-AA2A96802A92}"/>
          </ac:spMkLst>
        </pc:spChg>
      </pc:sldChg>
      <pc:sldChg chg="del">
        <pc:chgData name="Hickey, Claudette" userId="71e19957-b843-4df7-8271-6169398ba655" providerId="ADAL" clId="{B168D0EE-914A-4CD0-ACA4-A7E24191D53B}" dt="2020-04-30T15:44:39.799" v="4" actId="47"/>
        <pc:sldMkLst>
          <pc:docMk/>
          <pc:sldMk cId="1271463997" sldId="8834"/>
        </pc:sldMkLst>
      </pc:sldChg>
      <pc:sldChg chg="del">
        <pc:chgData name="Hickey, Claudette" userId="71e19957-b843-4df7-8271-6169398ba655" providerId="ADAL" clId="{B168D0EE-914A-4CD0-ACA4-A7E24191D53B}" dt="2020-04-30T15:44:43.466" v="5" actId="47"/>
        <pc:sldMkLst>
          <pc:docMk/>
          <pc:sldMk cId="4276964652" sldId="8837"/>
        </pc:sldMkLst>
      </pc:sldChg>
      <pc:sldChg chg="del">
        <pc:chgData name="Hickey, Claudette" userId="71e19957-b843-4df7-8271-6169398ba655" providerId="ADAL" clId="{B168D0EE-914A-4CD0-ACA4-A7E24191D53B}" dt="2020-04-30T15:44:44.221" v="6" actId="47"/>
        <pc:sldMkLst>
          <pc:docMk/>
          <pc:sldMk cId="1486202375" sldId="8838"/>
        </pc:sldMkLst>
      </pc:sldChg>
      <pc:sldChg chg="add">
        <pc:chgData name="Hickey, Claudette" userId="71e19957-b843-4df7-8271-6169398ba655" providerId="ADAL" clId="{B168D0EE-914A-4CD0-ACA4-A7E24191D53B}" dt="2020-04-30T15:44:34.962" v="2"/>
        <pc:sldMkLst>
          <pc:docMk/>
          <pc:sldMk cId="3516660635" sldId="8839"/>
        </pc:sldMkLst>
      </pc:sldChg>
      <pc:sldChg chg="add">
        <pc:chgData name="Hickey, Claudette" userId="71e19957-b843-4df7-8271-6169398ba655" providerId="ADAL" clId="{B168D0EE-914A-4CD0-ACA4-A7E24191D53B}" dt="2020-04-30T15:44:34.962" v="2"/>
        <pc:sldMkLst>
          <pc:docMk/>
          <pc:sldMk cId="2180399413" sldId="8840"/>
        </pc:sldMkLst>
      </pc:sldChg>
      <pc:sldChg chg="modSp add mod">
        <pc:chgData name="Hickey, Claudette" userId="71e19957-b843-4df7-8271-6169398ba655" providerId="ADAL" clId="{B168D0EE-914A-4CD0-ACA4-A7E24191D53B}" dt="2020-04-30T20:40:08.130" v="3322" actId="20577"/>
        <pc:sldMkLst>
          <pc:docMk/>
          <pc:sldMk cId="2053569124" sldId="8841"/>
        </pc:sldMkLst>
        <pc:spChg chg="mod">
          <ac:chgData name="Hickey, Claudette" userId="71e19957-b843-4df7-8271-6169398ba655" providerId="ADAL" clId="{B168D0EE-914A-4CD0-ACA4-A7E24191D53B}" dt="2020-04-30T20:40:08.130" v="3322" actId="20577"/>
          <ac:spMkLst>
            <pc:docMk/>
            <pc:sldMk cId="2053569124" sldId="8841"/>
            <ac:spMk id="3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20:27:36.954" v="2278" actId="20577"/>
          <ac:spMkLst>
            <pc:docMk/>
            <pc:sldMk cId="2053569124" sldId="8841"/>
            <ac:spMk id="16" creationId="{CB5D12FB-FF24-4F81-84A8-B6855780FA57}"/>
          </ac:spMkLst>
        </pc:spChg>
        <pc:spChg chg="mod">
          <ac:chgData name="Hickey, Claudette" userId="71e19957-b843-4df7-8271-6169398ba655" providerId="ADAL" clId="{B168D0EE-914A-4CD0-ACA4-A7E24191D53B}" dt="2020-04-30T20:28:34.095" v="2325" actId="20577"/>
          <ac:spMkLst>
            <pc:docMk/>
            <pc:sldMk cId="2053569124" sldId="8841"/>
            <ac:spMk id="17" creationId="{05745967-7367-4DAD-B714-7E64C7F7BAA4}"/>
          </ac:spMkLst>
        </pc:spChg>
        <pc:spChg chg="mod">
          <ac:chgData name="Hickey, Claudette" userId="71e19957-b843-4df7-8271-6169398ba655" providerId="ADAL" clId="{B168D0EE-914A-4CD0-ACA4-A7E24191D53B}" dt="2020-04-30T16:20:24.047" v="1011" actId="1038"/>
          <ac:spMkLst>
            <pc:docMk/>
            <pc:sldMk cId="2053569124" sldId="8841"/>
            <ac:spMk id="19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18:54:26.469" v="1386" actId="1036"/>
          <ac:spMkLst>
            <pc:docMk/>
            <pc:sldMk cId="2053569124" sldId="8841"/>
            <ac:spMk id="20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20:33:53.343" v="2865" actId="20577"/>
          <ac:spMkLst>
            <pc:docMk/>
            <pc:sldMk cId="2053569124" sldId="8841"/>
            <ac:spMk id="23" creationId="{CB5D12FB-FF24-4F81-84A8-B6855780FA57}"/>
          </ac:spMkLst>
        </pc:spChg>
        <pc:spChg chg="mod">
          <ac:chgData name="Hickey, Claudette" userId="71e19957-b843-4df7-8271-6169398ba655" providerId="ADAL" clId="{B168D0EE-914A-4CD0-ACA4-A7E24191D53B}" dt="2020-04-30T20:34:37.472" v="2918" actId="20577"/>
          <ac:spMkLst>
            <pc:docMk/>
            <pc:sldMk cId="2053569124" sldId="8841"/>
            <ac:spMk id="24" creationId="{05745967-7367-4DAD-B714-7E64C7F7BAA4}"/>
          </ac:spMkLst>
        </pc:spChg>
        <pc:spChg chg="mod">
          <ac:chgData name="Hickey, Claudette" userId="71e19957-b843-4df7-8271-6169398ba655" providerId="ADAL" clId="{B168D0EE-914A-4CD0-ACA4-A7E24191D53B}" dt="2020-04-30T15:48:19.081" v="49" actId="1038"/>
          <ac:spMkLst>
            <pc:docMk/>
            <pc:sldMk cId="2053569124" sldId="8841"/>
            <ac:spMk id="25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15:48:19.081" v="49" actId="1038"/>
          <ac:spMkLst>
            <pc:docMk/>
            <pc:sldMk cId="2053569124" sldId="8841"/>
            <ac:spMk id="26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20:29:12.681" v="2380" actId="20577"/>
          <ac:spMkLst>
            <pc:docMk/>
            <pc:sldMk cId="2053569124" sldId="8841"/>
            <ac:spMk id="33" creationId="{6B2B9C17-616A-44D1-8C08-27E6D7D31492}"/>
          </ac:spMkLst>
        </pc:spChg>
        <pc:spChg chg="mod">
          <ac:chgData name="Hickey, Claudette" userId="71e19957-b843-4df7-8271-6169398ba655" providerId="ADAL" clId="{B168D0EE-914A-4CD0-ACA4-A7E24191D53B}" dt="2020-04-30T18:54:20.371" v="1382" actId="1036"/>
          <ac:spMkLst>
            <pc:docMk/>
            <pc:sldMk cId="2053569124" sldId="8841"/>
            <ac:spMk id="34" creationId="{23D763DD-DCC3-43AB-AB53-4A790157F40B}"/>
          </ac:spMkLst>
        </pc:spChg>
        <pc:spChg chg="mod">
          <ac:chgData name="Hickey, Claudette" userId="71e19957-b843-4df7-8271-6169398ba655" providerId="ADAL" clId="{B168D0EE-914A-4CD0-ACA4-A7E24191D53B}" dt="2020-04-30T20:38:28.933" v="3218" actId="313"/>
          <ac:spMkLst>
            <pc:docMk/>
            <pc:sldMk cId="2053569124" sldId="8841"/>
            <ac:spMk id="35" creationId="{64228612-BE47-4409-94C4-34892472947F}"/>
          </ac:spMkLst>
        </pc:spChg>
        <pc:spChg chg="mod">
          <ac:chgData name="Hickey, Claudette" userId="71e19957-b843-4df7-8271-6169398ba655" providerId="ADAL" clId="{B168D0EE-914A-4CD0-ACA4-A7E24191D53B}" dt="2020-04-30T15:48:19.081" v="49" actId="1038"/>
          <ac:spMkLst>
            <pc:docMk/>
            <pc:sldMk cId="2053569124" sldId="8841"/>
            <ac:spMk id="36" creationId="{F0F3BCDA-B880-4CD7-A48F-B38078F3B623}"/>
          </ac:spMkLst>
        </pc:spChg>
        <pc:cxnChg chg="mod">
          <ac:chgData name="Hickey, Claudette" userId="71e19957-b843-4df7-8271-6169398ba655" providerId="ADAL" clId="{B168D0EE-914A-4CD0-ACA4-A7E24191D53B}" dt="2020-04-30T16:20:45.162" v="1013" actId="1076"/>
          <ac:cxnSpMkLst>
            <pc:docMk/>
            <pc:sldMk cId="2053569124" sldId="8841"/>
            <ac:cxnSpMk id="18" creationId="{00000000-0000-0000-0000-000000000000}"/>
          </ac:cxnSpMkLst>
        </pc:cxnChg>
      </pc:sldChg>
      <pc:sldChg chg="addSp delSp modSp add mod">
        <pc:chgData name="Hickey, Claudette" userId="71e19957-b843-4df7-8271-6169398ba655" providerId="ADAL" clId="{B168D0EE-914A-4CD0-ACA4-A7E24191D53B}" dt="2020-05-01T16:17:13.523" v="3426" actId="403"/>
        <pc:sldMkLst>
          <pc:docMk/>
          <pc:sldMk cId="569716832" sldId="8842"/>
        </pc:sldMkLst>
        <pc:spChg chg="mod">
          <ac:chgData name="Hickey, Claudette" userId="71e19957-b843-4df7-8271-6169398ba655" providerId="ADAL" clId="{B168D0EE-914A-4CD0-ACA4-A7E24191D53B}" dt="2020-05-01T16:17:13.523" v="3426" actId="403"/>
          <ac:spMkLst>
            <pc:docMk/>
            <pc:sldMk cId="569716832" sldId="8842"/>
            <ac:spMk id="3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18:43:27.617" v="1145" actId="207"/>
          <ac:spMkLst>
            <pc:docMk/>
            <pc:sldMk cId="569716832" sldId="8842"/>
            <ac:spMk id="6" creationId="{00000000-0000-0000-0000-000000000000}"/>
          </ac:spMkLst>
        </pc:spChg>
        <pc:spChg chg="mod">
          <ac:chgData name="Hickey, Claudette" userId="71e19957-b843-4df7-8271-6169398ba655" providerId="ADAL" clId="{B168D0EE-914A-4CD0-ACA4-A7E24191D53B}" dt="2020-04-30T16:14:14.072" v="941" actId="1035"/>
          <ac:spMkLst>
            <pc:docMk/>
            <pc:sldMk cId="569716832" sldId="8842"/>
            <ac:spMk id="10" creationId="{00000000-0000-0000-0000-000000000000}"/>
          </ac:spMkLst>
        </pc:spChg>
        <pc:spChg chg="add mod">
          <ac:chgData name="Hickey, Claudette" userId="71e19957-b843-4df7-8271-6169398ba655" providerId="ADAL" clId="{B168D0EE-914A-4CD0-ACA4-A7E24191D53B}" dt="2020-04-30T16:11:18.365" v="916" actId="1036"/>
          <ac:spMkLst>
            <pc:docMk/>
            <pc:sldMk cId="569716832" sldId="8842"/>
            <ac:spMk id="67" creationId="{1A63F091-B519-41A5-B2F7-03C026488FF0}"/>
          </ac:spMkLst>
        </pc:spChg>
        <pc:spChg chg="add mod">
          <ac:chgData name="Hickey, Claudette" userId="71e19957-b843-4df7-8271-6169398ba655" providerId="ADAL" clId="{B168D0EE-914A-4CD0-ACA4-A7E24191D53B}" dt="2020-04-30T16:11:18.365" v="916" actId="1036"/>
          <ac:spMkLst>
            <pc:docMk/>
            <pc:sldMk cId="569716832" sldId="8842"/>
            <ac:spMk id="68" creationId="{A74AC745-F79F-49C0-920D-EC919DE6E1B4}"/>
          </ac:spMkLst>
        </pc:spChg>
        <pc:spChg chg="add mod">
          <ac:chgData name="Hickey, Claudette" userId="71e19957-b843-4df7-8271-6169398ba655" providerId="ADAL" clId="{B168D0EE-914A-4CD0-ACA4-A7E24191D53B}" dt="2020-04-30T16:11:18.365" v="916" actId="1036"/>
          <ac:spMkLst>
            <pc:docMk/>
            <pc:sldMk cId="569716832" sldId="8842"/>
            <ac:spMk id="69" creationId="{705C1934-6A6E-4CF1-8486-23177711BE11}"/>
          </ac:spMkLst>
        </pc:spChg>
        <pc:spChg chg="add mod">
          <ac:chgData name="Hickey, Claudette" userId="71e19957-b843-4df7-8271-6169398ba655" providerId="ADAL" clId="{B168D0EE-914A-4CD0-ACA4-A7E24191D53B}" dt="2020-04-30T16:11:18.365" v="916" actId="1036"/>
          <ac:spMkLst>
            <pc:docMk/>
            <pc:sldMk cId="569716832" sldId="8842"/>
            <ac:spMk id="70" creationId="{DF4A1EF9-B3C4-4899-B72D-EF0CCC1A5D80}"/>
          </ac:spMkLst>
        </pc:spChg>
        <pc:spChg chg="add mod">
          <ac:chgData name="Hickey, Claudette" userId="71e19957-b843-4df7-8271-6169398ba655" providerId="ADAL" clId="{B168D0EE-914A-4CD0-ACA4-A7E24191D53B}" dt="2020-04-30T16:11:18.365" v="916" actId="1036"/>
          <ac:spMkLst>
            <pc:docMk/>
            <pc:sldMk cId="569716832" sldId="8842"/>
            <ac:spMk id="71" creationId="{CFCAEBE2-CE2D-432C-86FA-1E2751E3B5B7}"/>
          </ac:spMkLst>
        </pc:spChg>
        <pc:spChg chg="add del mod">
          <ac:chgData name="Hickey, Claudette" userId="71e19957-b843-4df7-8271-6169398ba655" providerId="ADAL" clId="{B168D0EE-914A-4CD0-ACA4-A7E24191D53B}" dt="2020-04-30T16:07:40.204" v="729" actId="478"/>
          <ac:spMkLst>
            <pc:docMk/>
            <pc:sldMk cId="569716832" sldId="8842"/>
            <ac:spMk id="90" creationId="{332450B5-D7F2-4BD8-AA7F-FF8679CD1F4E}"/>
          </ac:spMkLst>
        </pc:spChg>
        <pc:spChg chg="add del">
          <ac:chgData name="Hickey, Claudette" userId="71e19957-b843-4df7-8271-6169398ba655" providerId="ADAL" clId="{B168D0EE-914A-4CD0-ACA4-A7E24191D53B}" dt="2020-04-30T16:07:38.043" v="728"/>
          <ac:spMkLst>
            <pc:docMk/>
            <pc:sldMk cId="569716832" sldId="8842"/>
            <ac:spMk id="91" creationId="{8F10477F-C866-4F21-B243-1DFDE87E2AA1}"/>
          </ac:spMkLst>
        </pc:spChg>
        <pc:spChg chg="add mod">
          <ac:chgData name="Hickey, Claudette" userId="71e19957-b843-4df7-8271-6169398ba655" providerId="ADAL" clId="{B168D0EE-914A-4CD0-ACA4-A7E24191D53B}" dt="2020-04-30T18:40:45.234" v="1116" actId="404"/>
          <ac:spMkLst>
            <pc:docMk/>
            <pc:sldMk cId="569716832" sldId="8842"/>
            <ac:spMk id="92" creationId="{6D88E5BA-721F-4794-8C89-6EDBB98A1CF4}"/>
          </ac:spMkLst>
        </pc:spChg>
        <pc:spChg chg="add mod">
          <ac:chgData name="Hickey, Claudette" userId="71e19957-b843-4df7-8271-6169398ba655" providerId="ADAL" clId="{B168D0EE-914A-4CD0-ACA4-A7E24191D53B}" dt="2020-04-30T16:08:48.429" v="878" actId="1038"/>
          <ac:spMkLst>
            <pc:docMk/>
            <pc:sldMk cId="569716832" sldId="8842"/>
            <ac:spMk id="93" creationId="{C6433AA6-03E2-40E7-BC49-96CB586D14B6}"/>
          </ac:spMkLst>
        </pc:spChg>
        <pc:spChg chg="add mod">
          <ac:chgData name="Hickey, Claudette" userId="71e19957-b843-4df7-8271-6169398ba655" providerId="ADAL" clId="{B168D0EE-914A-4CD0-ACA4-A7E24191D53B}" dt="2020-04-30T16:08:48.429" v="878" actId="1038"/>
          <ac:spMkLst>
            <pc:docMk/>
            <pc:sldMk cId="569716832" sldId="8842"/>
            <ac:spMk id="94" creationId="{AADB9446-75F7-4F21-8C01-EA85722E1ED3}"/>
          </ac:spMkLst>
        </pc:spChg>
        <pc:spChg chg="add del mod">
          <ac:chgData name="Hickey, Claudette" userId="71e19957-b843-4df7-8271-6169398ba655" providerId="ADAL" clId="{B168D0EE-914A-4CD0-ACA4-A7E24191D53B}" dt="2020-04-30T16:08:18.949" v="851" actId="478"/>
          <ac:spMkLst>
            <pc:docMk/>
            <pc:sldMk cId="569716832" sldId="8842"/>
            <ac:spMk id="95" creationId="{F35F7814-DE55-4B90-8F9E-78DAD2A7B691}"/>
          </ac:spMkLst>
        </pc:spChg>
        <pc:spChg chg="add mod">
          <ac:chgData name="Hickey, Claudette" userId="71e19957-b843-4df7-8271-6169398ba655" providerId="ADAL" clId="{B168D0EE-914A-4CD0-ACA4-A7E24191D53B}" dt="2020-04-30T16:15:59.555" v="969" actId="1076"/>
          <ac:spMkLst>
            <pc:docMk/>
            <pc:sldMk cId="569716832" sldId="8842"/>
            <ac:spMk id="105" creationId="{EDA9529E-3031-4B8B-9080-ED93C3CB346E}"/>
          </ac:spMkLst>
        </pc:spChg>
        <pc:spChg chg="add mod">
          <ac:chgData name="Hickey, Claudette" userId="71e19957-b843-4df7-8271-6169398ba655" providerId="ADAL" clId="{B168D0EE-914A-4CD0-ACA4-A7E24191D53B}" dt="2020-05-01T16:16:34.064" v="3421" actId="14100"/>
          <ac:spMkLst>
            <pc:docMk/>
            <pc:sldMk cId="569716832" sldId="8842"/>
            <ac:spMk id="108" creationId="{3A7D51E1-C55E-4511-AD92-4ACFA9123421}"/>
          </ac:spMkLst>
        </pc:spChg>
        <pc:spChg chg="add mod">
          <ac:chgData name="Hickey, Claudette" userId="71e19957-b843-4df7-8271-6169398ba655" providerId="ADAL" clId="{B168D0EE-914A-4CD0-ACA4-A7E24191D53B}" dt="2020-05-01T16:16:39.087" v="3423" actId="207"/>
          <ac:spMkLst>
            <pc:docMk/>
            <pc:sldMk cId="569716832" sldId="8842"/>
            <ac:spMk id="109" creationId="{7257F960-EF5B-4E9A-818B-5A054F3D1662}"/>
          </ac:spMkLst>
        </pc:spChg>
        <pc:spChg chg="add mod">
          <ac:chgData name="Hickey, Claudette" userId="71e19957-b843-4df7-8271-6169398ba655" providerId="ADAL" clId="{B168D0EE-914A-4CD0-ACA4-A7E24191D53B}" dt="2020-05-01T16:12:32.831" v="3412" actId="207"/>
          <ac:spMkLst>
            <pc:docMk/>
            <pc:sldMk cId="569716832" sldId="8842"/>
            <ac:spMk id="121" creationId="{C59D6CA9-4792-47B2-9A97-FF3791653374}"/>
          </ac:spMkLst>
        </pc:spChg>
        <pc:spChg chg="add mod">
          <ac:chgData name="Hickey, Claudette" userId="71e19957-b843-4df7-8271-6169398ba655" providerId="ADAL" clId="{B168D0EE-914A-4CD0-ACA4-A7E24191D53B}" dt="2020-05-01T16:12:32.831" v="3412" actId="207"/>
          <ac:spMkLst>
            <pc:docMk/>
            <pc:sldMk cId="569716832" sldId="8842"/>
            <ac:spMk id="122" creationId="{6CD4A1DD-E1BF-454F-85A3-5E1F04DBA035}"/>
          </ac:spMkLst>
        </pc:spChg>
        <pc:spChg chg="mod">
          <ac:chgData name="Hickey, Claudette" userId="71e19957-b843-4df7-8271-6169398ba655" providerId="ADAL" clId="{B168D0EE-914A-4CD0-ACA4-A7E24191D53B}" dt="2020-04-30T16:00:56.462" v="409" actId="1035"/>
          <ac:spMkLst>
            <pc:docMk/>
            <pc:sldMk cId="569716832" sldId="8842"/>
            <ac:spMk id="127" creationId="{72651405-B10B-4201-830C-445390117897}"/>
          </ac:spMkLst>
        </pc:spChg>
        <pc:spChg chg="mod">
          <ac:chgData name="Hickey, Claudette" userId="71e19957-b843-4df7-8271-6169398ba655" providerId="ADAL" clId="{B168D0EE-914A-4CD0-ACA4-A7E24191D53B}" dt="2020-04-30T18:40:57.481" v="1131" actId="404"/>
          <ac:spMkLst>
            <pc:docMk/>
            <pc:sldMk cId="569716832" sldId="8842"/>
            <ac:spMk id="129" creationId="{38FBAC6F-2069-4487-8D40-7B4FEE4784DF}"/>
          </ac:spMkLst>
        </pc:spChg>
        <pc:spChg chg="mod">
          <ac:chgData name="Hickey, Claudette" userId="71e19957-b843-4df7-8271-6169398ba655" providerId="ADAL" clId="{B168D0EE-914A-4CD0-ACA4-A7E24191D53B}" dt="2020-04-30T16:14:51.609" v="943" actId="255"/>
          <ac:spMkLst>
            <pc:docMk/>
            <pc:sldMk cId="569716832" sldId="8842"/>
            <ac:spMk id="130" creationId="{0E016A99-DB81-467F-93B4-29ED9E4D38C3}"/>
          </ac:spMkLst>
        </pc:spChg>
        <pc:spChg chg="mod">
          <ac:chgData name="Hickey, Claudette" userId="71e19957-b843-4df7-8271-6169398ba655" providerId="ADAL" clId="{B168D0EE-914A-4CD0-ACA4-A7E24191D53B}" dt="2020-04-30T16:14:55.842" v="944" actId="255"/>
          <ac:spMkLst>
            <pc:docMk/>
            <pc:sldMk cId="569716832" sldId="8842"/>
            <ac:spMk id="131" creationId="{F0FCF3A0-AA43-4966-8D94-A561539E55B7}"/>
          </ac:spMkLst>
        </pc:spChg>
        <pc:spChg chg="mod">
          <ac:chgData name="Hickey, Claudette" userId="71e19957-b843-4df7-8271-6169398ba655" providerId="ADAL" clId="{B168D0EE-914A-4CD0-ACA4-A7E24191D53B}" dt="2020-04-30T18:40:09.367" v="1105" actId="20577"/>
          <ac:spMkLst>
            <pc:docMk/>
            <pc:sldMk cId="569716832" sldId="8842"/>
            <ac:spMk id="132" creationId="{F729885A-E1B5-4D37-84ED-C45C4F6813A5}"/>
          </ac:spMkLst>
        </pc:spChg>
        <pc:spChg chg="mod">
          <ac:chgData name="Hickey, Claudette" userId="71e19957-b843-4df7-8271-6169398ba655" providerId="ADAL" clId="{B168D0EE-914A-4CD0-ACA4-A7E24191D53B}" dt="2020-04-30T16:00:56.462" v="409" actId="1035"/>
          <ac:spMkLst>
            <pc:docMk/>
            <pc:sldMk cId="569716832" sldId="8842"/>
            <ac:spMk id="133" creationId="{4BF183A1-D23E-4F66-8DE9-43AD2D645D20}"/>
          </ac:spMkLst>
        </pc:spChg>
        <pc:spChg chg="mod">
          <ac:chgData name="Hickey, Claudette" userId="71e19957-b843-4df7-8271-6169398ba655" providerId="ADAL" clId="{B168D0EE-914A-4CD0-ACA4-A7E24191D53B}" dt="2020-04-30T17:47:59.964" v="1078" actId="1038"/>
          <ac:spMkLst>
            <pc:docMk/>
            <pc:sldMk cId="569716832" sldId="8842"/>
            <ac:spMk id="134" creationId="{94B033BC-8080-4456-BA84-A3B74C8D2F62}"/>
          </ac:spMkLst>
        </pc:spChg>
        <pc:spChg chg="mod">
          <ac:chgData name="Hickey, Claudette" userId="71e19957-b843-4df7-8271-6169398ba655" providerId="ADAL" clId="{B168D0EE-914A-4CD0-ACA4-A7E24191D53B}" dt="2020-04-30T17:45:08.683" v="1051" actId="207"/>
          <ac:spMkLst>
            <pc:docMk/>
            <pc:sldMk cId="569716832" sldId="8842"/>
            <ac:spMk id="138" creationId="{EF66CD95-2F4E-4F16-96FF-E1138A818BA8}"/>
          </ac:spMkLst>
        </pc:spChg>
        <pc:spChg chg="mod">
          <ac:chgData name="Hickey, Claudette" userId="71e19957-b843-4df7-8271-6169398ba655" providerId="ADAL" clId="{B168D0EE-914A-4CD0-ACA4-A7E24191D53B}" dt="2020-05-01T16:10:37.052" v="3395" actId="20577"/>
          <ac:spMkLst>
            <pc:docMk/>
            <pc:sldMk cId="569716832" sldId="8842"/>
            <ac:spMk id="139" creationId="{F23BFFBA-DE6C-4AA7-BEB7-46FB19DC1DCC}"/>
          </ac:spMkLst>
        </pc:spChg>
        <pc:spChg chg="mod">
          <ac:chgData name="Hickey, Claudette" userId="71e19957-b843-4df7-8271-6169398ba655" providerId="ADAL" clId="{B168D0EE-914A-4CD0-ACA4-A7E24191D53B}" dt="2020-04-30T17:48:05.536" v="1083" actId="1038"/>
          <ac:spMkLst>
            <pc:docMk/>
            <pc:sldMk cId="569716832" sldId="8842"/>
            <ac:spMk id="140" creationId="{3D64874A-EE3D-49D1-96E9-3FA7691F1E29}"/>
          </ac:spMkLst>
        </pc:spChg>
        <pc:spChg chg="mod">
          <ac:chgData name="Hickey, Claudette" userId="71e19957-b843-4df7-8271-6169398ba655" providerId="ADAL" clId="{B168D0EE-914A-4CD0-ACA4-A7E24191D53B}" dt="2020-04-30T17:48:05.536" v="1083" actId="1038"/>
          <ac:spMkLst>
            <pc:docMk/>
            <pc:sldMk cId="569716832" sldId="8842"/>
            <ac:spMk id="141" creationId="{29EFF6ED-A1FC-4CB5-A000-E4E517042298}"/>
          </ac:spMkLst>
        </pc:spChg>
        <pc:spChg chg="mod">
          <ac:chgData name="Hickey, Claudette" userId="71e19957-b843-4df7-8271-6169398ba655" providerId="ADAL" clId="{B168D0EE-914A-4CD0-ACA4-A7E24191D53B}" dt="2020-04-30T17:48:05.536" v="1083" actId="1038"/>
          <ac:spMkLst>
            <pc:docMk/>
            <pc:sldMk cId="569716832" sldId="8842"/>
            <ac:spMk id="142" creationId="{6EA5F2D0-3D8B-434E-85F4-719191F4BEA3}"/>
          </ac:spMkLst>
        </pc:spChg>
        <pc:spChg chg="mod">
          <ac:chgData name="Hickey, Claudette" userId="71e19957-b843-4df7-8271-6169398ba655" providerId="ADAL" clId="{B168D0EE-914A-4CD0-ACA4-A7E24191D53B}" dt="2020-04-30T17:48:05.536" v="1083" actId="1038"/>
          <ac:spMkLst>
            <pc:docMk/>
            <pc:sldMk cId="569716832" sldId="8842"/>
            <ac:spMk id="145" creationId="{879B426A-DE6F-4CE6-A136-815C768ED3D4}"/>
          </ac:spMkLst>
        </pc:spChg>
        <pc:spChg chg="mod">
          <ac:chgData name="Hickey, Claudette" userId="71e19957-b843-4df7-8271-6169398ba655" providerId="ADAL" clId="{B168D0EE-914A-4CD0-ACA4-A7E24191D53B}" dt="2020-04-30T17:46:54.661" v="1067" actId="14100"/>
          <ac:spMkLst>
            <pc:docMk/>
            <pc:sldMk cId="569716832" sldId="8842"/>
            <ac:spMk id="147" creationId="{47D66FDF-23F9-47EE-866E-2360890DB3D3}"/>
          </ac:spMkLst>
        </pc:spChg>
        <pc:spChg chg="mod">
          <ac:chgData name="Hickey, Claudette" userId="71e19957-b843-4df7-8271-6169398ba655" providerId="ADAL" clId="{B168D0EE-914A-4CD0-ACA4-A7E24191D53B}" dt="2020-04-30T18:49:56.754" v="1307" actId="1036"/>
          <ac:spMkLst>
            <pc:docMk/>
            <pc:sldMk cId="569716832" sldId="8842"/>
            <ac:spMk id="148" creationId="{721322FA-9818-40A6-A993-5630C3F8EA27}"/>
          </ac:spMkLst>
        </pc:spChg>
        <pc:spChg chg="mod">
          <ac:chgData name="Hickey, Claudette" userId="71e19957-b843-4df7-8271-6169398ba655" providerId="ADAL" clId="{B168D0EE-914A-4CD0-ACA4-A7E24191D53B}" dt="2020-04-30T16:15:54.589" v="968" actId="1036"/>
          <ac:spMkLst>
            <pc:docMk/>
            <pc:sldMk cId="569716832" sldId="8842"/>
            <ac:spMk id="149" creationId="{D8B154F7-698C-451D-ABBE-FFF02709856F}"/>
          </ac:spMkLst>
        </pc:spChg>
        <pc:spChg chg="mod">
          <ac:chgData name="Hickey, Claudette" userId="71e19957-b843-4df7-8271-6169398ba655" providerId="ADAL" clId="{B168D0EE-914A-4CD0-ACA4-A7E24191D53B}" dt="2020-04-30T16:15:54.589" v="968" actId="1036"/>
          <ac:spMkLst>
            <pc:docMk/>
            <pc:sldMk cId="569716832" sldId="8842"/>
            <ac:spMk id="150" creationId="{0DAA7A21-D0AE-416B-9FD3-049B0AA08A2A}"/>
          </ac:spMkLst>
        </pc:spChg>
        <pc:spChg chg="mod">
          <ac:chgData name="Hickey, Claudette" userId="71e19957-b843-4df7-8271-6169398ba655" providerId="ADAL" clId="{B168D0EE-914A-4CD0-ACA4-A7E24191D53B}" dt="2020-04-30T18:53:31.853" v="1374" actId="20577"/>
          <ac:spMkLst>
            <pc:docMk/>
            <pc:sldMk cId="569716832" sldId="8842"/>
            <ac:spMk id="151" creationId="{72EFA885-EBE4-4C38-AD08-13A66FB4105E}"/>
          </ac:spMkLst>
        </pc:spChg>
        <pc:spChg chg="mod ord">
          <ac:chgData name="Hickey, Claudette" userId="71e19957-b843-4df7-8271-6169398ba655" providerId="ADAL" clId="{B168D0EE-914A-4CD0-ACA4-A7E24191D53B}" dt="2020-04-30T17:47:27.153" v="1073" actId="166"/>
          <ac:spMkLst>
            <pc:docMk/>
            <pc:sldMk cId="569716832" sldId="8842"/>
            <ac:spMk id="153" creationId="{56D7301C-3F17-470A-A849-3085FA5A5A3C}"/>
          </ac:spMkLst>
        </pc:spChg>
        <pc:spChg chg="mod">
          <ac:chgData name="Hickey, Claudette" userId="71e19957-b843-4df7-8271-6169398ba655" providerId="ADAL" clId="{B168D0EE-914A-4CD0-ACA4-A7E24191D53B}" dt="2020-04-30T18:53:01.747" v="1369" actId="14100"/>
          <ac:spMkLst>
            <pc:docMk/>
            <pc:sldMk cId="569716832" sldId="8842"/>
            <ac:spMk id="154" creationId="{86D38DAC-4F20-4A9A-9233-855EB8C8CB05}"/>
          </ac:spMkLst>
        </pc:spChg>
        <pc:spChg chg="mod">
          <ac:chgData name="Hickey, Claudette" userId="71e19957-b843-4df7-8271-6169398ba655" providerId="ADAL" clId="{B168D0EE-914A-4CD0-ACA4-A7E24191D53B}" dt="2020-04-30T17:46:46.433" v="1064" actId="113"/>
          <ac:spMkLst>
            <pc:docMk/>
            <pc:sldMk cId="569716832" sldId="8842"/>
            <ac:spMk id="157" creationId="{0255DB00-30B8-4D5E-9979-B8FC7E26FAF2}"/>
          </ac:spMkLst>
        </pc:spChg>
        <pc:spChg chg="mod">
          <ac:chgData name="Hickey, Claudette" userId="71e19957-b843-4df7-8271-6169398ba655" providerId="ADAL" clId="{B168D0EE-914A-4CD0-ACA4-A7E24191D53B}" dt="2020-04-30T17:47:00.961" v="1069" actId="113"/>
          <ac:spMkLst>
            <pc:docMk/>
            <pc:sldMk cId="569716832" sldId="8842"/>
            <ac:spMk id="158" creationId="{C1A23BD4-978A-4392-97DA-DF9E08EAEC9D}"/>
          </ac:spMkLst>
        </pc:spChg>
        <pc:spChg chg="mod">
          <ac:chgData name="Hickey, Claudette" userId="71e19957-b843-4df7-8271-6169398ba655" providerId="ADAL" clId="{B168D0EE-914A-4CD0-ACA4-A7E24191D53B}" dt="2020-05-01T16:16:19.920" v="3418" actId="14100"/>
          <ac:spMkLst>
            <pc:docMk/>
            <pc:sldMk cId="569716832" sldId="8842"/>
            <ac:spMk id="164" creationId="{AB08A57D-1DC0-4C3D-ADE0-28DD4E2FD75E}"/>
          </ac:spMkLst>
        </pc:spChg>
        <pc:spChg chg="mod">
          <ac:chgData name="Hickey, Claudette" userId="71e19957-b843-4df7-8271-6169398ba655" providerId="ADAL" clId="{B168D0EE-914A-4CD0-ACA4-A7E24191D53B}" dt="2020-04-30T17:45:11.316" v="1052" actId="207"/>
          <ac:spMkLst>
            <pc:docMk/>
            <pc:sldMk cId="569716832" sldId="8842"/>
            <ac:spMk id="174" creationId="{1AFD908B-36D7-463D-9D6C-7F71A562D234}"/>
          </ac:spMkLst>
        </pc:spChg>
        <pc:spChg chg="del">
          <ac:chgData name="Hickey, Claudette" userId="71e19957-b843-4df7-8271-6169398ba655" providerId="ADAL" clId="{B168D0EE-914A-4CD0-ACA4-A7E24191D53B}" dt="2020-04-30T15:55:21.504" v="317" actId="478"/>
          <ac:spMkLst>
            <pc:docMk/>
            <pc:sldMk cId="569716832" sldId="8842"/>
            <ac:spMk id="201" creationId="{6A1527F0-BF68-4654-B1F4-D504EC1EBF26}"/>
          </ac:spMkLst>
        </pc:spChg>
        <pc:spChg chg="del">
          <ac:chgData name="Hickey, Claudette" userId="71e19957-b843-4df7-8271-6169398ba655" providerId="ADAL" clId="{B168D0EE-914A-4CD0-ACA4-A7E24191D53B}" dt="2020-04-30T15:55:21.504" v="317" actId="478"/>
          <ac:spMkLst>
            <pc:docMk/>
            <pc:sldMk cId="569716832" sldId="8842"/>
            <ac:spMk id="202" creationId="{67F3615B-6E9D-4CC7-A7AB-F4C87AAC3B26}"/>
          </ac:spMkLst>
        </pc:spChg>
        <pc:spChg chg="mod">
          <ac:chgData name="Hickey, Claudette" userId="71e19957-b843-4df7-8271-6169398ba655" providerId="ADAL" clId="{B168D0EE-914A-4CD0-ACA4-A7E24191D53B}" dt="2020-04-30T18:52:04.092" v="1348" actId="20577"/>
          <ac:spMkLst>
            <pc:docMk/>
            <pc:sldMk cId="569716832" sldId="8842"/>
            <ac:spMk id="203" creationId="{746A318C-BA70-4263-963F-FC7856B42ADE}"/>
          </ac:spMkLst>
        </pc:spChg>
        <pc:spChg chg="del mod">
          <ac:chgData name="Hickey, Claudette" userId="71e19957-b843-4df7-8271-6169398ba655" providerId="ADAL" clId="{B168D0EE-914A-4CD0-ACA4-A7E24191D53B}" dt="2020-04-30T15:52:05.496" v="109" actId="478"/>
          <ac:spMkLst>
            <pc:docMk/>
            <pc:sldMk cId="569716832" sldId="8842"/>
            <ac:spMk id="204" creationId="{B8F7E3F8-C375-4B8A-8979-EDEBE3BFFB4C}"/>
          </ac:spMkLst>
        </pc:spChg>
        <pc:spChg chg="del">
          <ac:chgData name="Hickey, Claudette" userId="71e19957-b843-4df7-8271-6169398ba655" providerId="ADAL" clId="{B168D0EE-914A-4CD0-ACA4-A7E24191D53B}" dt="2020-04-30T15:53:55.356" v="184" actId="478"/>
          <ac:spMkLst>
            <pc:docMk/>
            <pc:sldMk cId="569716832" sldId="8842"/>
            <ac:spMk id="206" creationId="{FBD2C9AF-3F54-48B9-A5A0-4F7616BC4A97}"/>
          </ac:spMkLst>
        </pc:spChg>
        <pc:spChg chg="del">
          <ac:chgData name="Hickey, Claudette" userId="71e19957-b843-4df7-8271-6169398ba655" providerId="ADAL" clId="{B168D0EE-914A-4CD0-ACA4-A7E24191D53B}" dt="2020-04-30T15:55:21.504" v="317" actId="478"/>
          <ac:spMkLst>
            <pc:docMk/>
            <pc:sldMk cId="569716832" sldId="8842"/>
            <ac:spMk id="208" creationId="{BDC4F627-0C3D-4B18-BA60-A96AD661A4EF}"/>
          </ac:spMkLst>
        </pc:spChg>
        <pc:spChg chg="del mod">
          <ac:chgData name="Hickey, Claudette" userId="71e19957-b843-4df7-8271-6169398ba655" providerId="ADAL" clId="{B168D0EE-914A-4CD0-ACA4-A7E24191D53B}" dt="2020-04-30T15:55:26.242" v="319" actId="478"/>
          <ac:spMkLst>
            <pc:docMk/>
            <pc:sldMk cId="569716832" sldId="8842"/>
            <ac:spMk id="209" creationId="{22CB054A-7AE2-4E34-8D84-8B58732EBAE5}"/>
          </ac:spMkLst>
        </pc:spChg>
        <pc:spChg chg="del">
          <ac:chgData name="Hickey, Claudette" userId="71e19957-b843-4df7-8271-6169398ba655" providerId="ADAL" clId="{B168D0EE-914A-4CD0-ACA4-A7E24191D53B}" dt="2020-04-30T15:53:57.101" v="185" actId="478"/>
          <ac:spMkLst>
            <pc:docMk/>
            <pc:sldMk cId="569716832" sldId="8842"/>
            <ac:spMk id="211" creationId="{FF3FB492-499C-4EE9-8204-184269B389C7}"/>
          </ac:spMkLst>
        </pc:spChg>
        <pc:spChg chg="del mod">
          <ac:chgData name="Hickey, Claudette" userId="71e19957-b843-4df7-8271-6169398ba655" providerId="ADAL" clId="{B168D0EE-914A-4CD0-ACA4-A7E24191D53B}" dt="2020-04-30T15:52:55.362" v="135" actId="478"/>
          <ac:spMkLst>
            <pc:docMk/>
            <pc:sldMk cId="569716832" sldId="8842"/>
            <ac:spMk id="212" creationId="{2370FCF1-5AFE-47EA-AFD6-FDD2F7B07587}"/>
          </ac:spMkLst>
        </pc:spChg>
        <pc:spChg chg="del mod">
          <ac:chgData name="Hickey, Claudette" userId="71e19957-b843-4df7-8271-6169398ba655" providerId="ADAL" clId="{B168D0EE-914A-4CD0-ACA4-A7E24191D53B}" dt="2020-04-30T15:53:52.283" v="183" actId="478"/>
          <ac:spMkLst>
            <pc:docMk/>
            <pc:sldMk cId="569716832" sldId="8842"/>
            <ac:spMk id="216" creationId="{1DB9FAFE-F2FD-4763-9719-619043D06F9E}"/>
          </ac:spMkLst>
        </pc:spChg>
        <pc:spChg chg="mod">
          <ac:chgData name="Hickey, Claudette" userId="71e19957-b843-4df7-8271-6169398ba655" providerId="ADAL" clId="{B168D0EE-914A-4CD0-ACA4-A7E24191D53B}" dt="2020-04-30T16:11:57.308" v="923" actId="14100"/>
          <ac:spMkLst>
            <pc:docMk/>
            <pc:sldMk cId="569716832" sldId="8842"/>
            <ac:spMk id="220" creationId="{00A2F59E-AF02-4498-9340-29E55C2873B5}"/>
          </ac:spMkLst>
        </pc:spChg>
        <pc:spChg chg="mod">
          <ac:chgData name="Hickey, Claudette" userId="71e19957-b843-4df7-8271-6169398ba655" providerId="ADAL" clId="{B168D0EE-914A-4CD0-ACA4-A7E24191D53B}" dt="2020-04-30T17:45:53.074" v="1056" actId="207"/>
          <ac:spMkLst>
            <pc:docMk/>
            <pc:sldMk cId="569716832" sldId="8842"/>
            <ac:spMk id="237" creationId="{C1994C5B-F2E2-4260-96AE-E5505E65F840}"/>
          </ac:spMkLst>
        </pc:spChg>
        <pc:spChg chg="add mod">
          <ac:chgData name="Hickey, Claudette" userId="71e19957-b843-4df7-8271-6169398ba655" providerId="ADAL" clId="{B168D0EE-914A-4CD0-ACA4-A7E24191D53B}" dt="2020-05-01T16:12:32.831" v="3412" actId="207"/>
          <ac:spMkLst>
            <pc:docMk/>
            <pc:sldMk cId="569716832" sldId="8842"/>
            <ac:spMk id="238" creationId="{C387125D-C490-4A47-83D7-1CE6D5A04889}"/>
          </ac:spMkLst>
        </pc:spChg>
        <pc:spChg chg="del mod">
          <ac:chgData name="Hickey, Claudette" userId="71e19957-b843-4df7-8271-6169398ba655" providerId="ADAL" clId="{B168D0EE-914A-4CD0-ACA4-A7E24191D53B}" dt="2020-04-30T16:08:42.408" v="856" actId="478"/>
          <ac:spMkLst>
            <pc:docMk/>
            <pc:sldMk cId="569716832" sldId="8842"/>
            <ac:spMk id="241" creationId="{8E484291-1180-403B-8259-B94B94D90D04}"/>
          </ac:spMkLst>
        </pc:spChg>
        <pc:spChg chg="mod">
          <ac:chgData name="Hickey, Claudette" userId="71e19957-b843-4df7-8271-6169398ba655" providerId="ADAL" clId="{B168D0EE-914A-4CD0-ACA4-A7E24191D53B}" dt="2020-04-30T16:08:36.223" v="855" actId="6549"/>
          <ac:spMkLst>
            <pc:docMk/>
            <pc:sldMk cId="569716832" sldId="8842"/>
            <ac:spMk id="245" creationId="{6669AE04-3CA9-4187-B78F-B8BEFC9E4F88}"/>
          </ac:spMkLst>
        </pc:spChg>
        <pc:grpChg chg="mod">
          <ac:chgData name="Hickey, Claudette" userId="71e19957-b843-4df7-8271-6169398ba655" providerId="ADAL" clId="{B168D0EE-914A-4CD0-ACA4-A7E24191D53B}" dt="2020-04-30T17:45:42.323" v="1055" actId="207"/>
          <ac:grpSpMkLst>
            <pc:docMk/>
            <pc:sldMk cId="569716832" sldId="8842"/>
            <ac:grpSpMk id="5" creationId="{00000000-0000-0000-0000-000000000000}"/>
          </ac:grpSpMkLst>
        </pc:grpChg>
        <pc:grpChg chg="del">
          <ac:chgData name="Hickey, Claudette" userId="71e19957-b843-4df7-8271-6169398ba655" providerId="ADAL" clId="{B168D0EE-914A-4CD0-ACA4-A7E24191D53B}" dt="2020-04-30T15:54:39.909" v="272" actId="478"/>
          <ac:grpSpMkLst>
            <pc:docMk/>
            <pc:sldMk cId="569716832" sldId="8842"/>
            <ac:grpSpMk id="197" creationId="{1E8F4A7A-CCC9-4B99-A983-141A157B674E}"/>
          </ac:grpSpMkLst>
        </pc:grpChg>
        <pc:grpChg chg="del mod">
          <ac:chgData name="Hickey, Claudette" userId="71e19957-b843-4df7-8271-6169398ba655" providerId="ADAL" clId="{B168D0EE-914A-4CD0-ACA4-A7E24191D53B}" dt="2020-04-30T16:08:42.408" v="856" actId="478"/>
          <ac:grpSpMkLst>
            <pc:docMk/>
            <pc:sldMk cId="569716832" sldId="8842"/>
            <ac:grpSpMk id="242" creationId="{339B1375-5568-458D-903C-02A1F441A643}"/>
          </ac:grpSpMkLst>
        </pc:grpChg>
        <pc:cxnChg chg="add mod">
          <ac:chgData name="Hickey, Claudette" userId="71e19957-b843-4df7-8271-6169398ba655" providerId="ADAL" clId="{B168D0EE-914A-4CD0-ACA4-A7E24191D53B}" dt="2020-04-30T18:51:53.510" v="1341" actId="1076"/>
          <ac:cxnSpMkLst>
            <pc:docMk/>
            <pc:sldMk cId="569716832" sldId="8842"/>
            <ac:cxnSpMk id="72" creationId="{66FADC21-CF80-4818-8D3B-AC9E1849D409}"/>
          </ac:cxnSpMkLst>
        </pc:cxnChg>
        <pc:cxnChg chg="add mod">
          <ac:chgData name="Hickey, Claudette" userId="71e19957-b843-4df7-8271-6169398ba655" providerId="ADAL" clId="{B168D0EE-914A-4CD0-ACA4-A7E24191D53B}" dt="2020-04-30T18:53:49.770" v="1375" actId="14100"/>
          <ac:cxnSpMkLst>
            <pc:docMk/>
            <pc:sldMk cId="569716832" sldId="8842"/>
            <ac:cxnSpMk id="85" creationId="{9EFB8728-AD4A-4FB7-86D8-FDC8C416FA6F}"/>
          </ac:cxnSpMkLst>
        </pc:cxnChg>
        <pc:cxnChg chg="add mod">
          <ac:chgData name="Hickey, Claudette" userId="71e19957-b843-4df7-8271-6169398ba655" providerId="ADAL" clId="{B168D0EE-914A-4CD0-ACA4-A7E24191D53B}" dt="2020-04-30T17:48:44.215" v="1087" actId="208"/>
          <ac:cxnSpMkLst>
            <pc:docMk/>
            <pc:sldMk cId="569716832" sldId="8842"/>
            <ac:cxnSpMk id="88" creationId="{70F8E62B-8545-4FA4-BECA-862762BF60A1}"/>
          </ac:cxnSpMkLst>
        </pc:cxnChg>
        <pc:cxnChg chg="add del mod">
          <ac:chgData name="Hickey, Claudette" userId="71e19957-b843-4df7-8271-6169398ba655" providerId="ADAL" clId="{B168D0EE-914A-4CD0-ACA4-A7E24191D53B}" dt="2020-04-30T18:51:48.741" v="1340" actId="478"/>
          <ac:cxnSpMkLst>
            <pc:docMk/>
            <pc:sldMk cId="569716832" sldId="8842"/>
            <ac:cxnSpMk id="106" creationId="{69DCBD32-94DC-4FED-8726-0911A366923B}"/>
          </ac:cxnSpMkLst>
        </pc:cxnChg>
        <pc:cxnChg chg="mod">
          <ac:chgData name="Hickey, Claudette" userId="71e19957-b843-4df7-8271-6169398ba655" providerId="ADAL" clId="{B168D0EE-914A-4CD0-ACA4-A7E24191D53B}" dt="2020-04-30T16:14:14.072" v="941" actId="1035"/>
          <ac:cxnSpMkLst>
            <pc:docMk/>
            <pc:sldMk cId="569716832" sldId="8842"/>
            <ac:cxnSpMk id="128" creationId="{A1A65F7C-68C8-404B-9DC5-B98C2583DF26}"/>
          </ac:cxnSpMkLst>
        </pc:cxnChg>
        <pc:cxnChg chg="mod">
          <ac:chgData name="Hickey, Claudette" userId="71e19957-b843-4df7-8271-6169398ba655" providerId="ADAL" clId="{B168D0EE-914A-4CD0-ACA4-A7E24191D53B}" dt="2020-04-30T16:00:56.462" v="409" actId="1035"/>
          <ac:cxnSpMkLst>
            <pc:docMk/>
            <pc:sldMk cId="569716832" sldId="8842"/>
            <ac:cxnSpMk id="135" creationId="{DA9F4D93-7CFA-4830-8B80-B1CF858D0876}"/>
          </ac:cxnSpMkLst>
        </pc:cxnChg>
        <pc:cxnChg chg="mod">
          <ac:chgData name="Hickey, Claudette" userId="71e19957-b843-4df7-8271-6169398ba655" providerId="ADAL" clId="{B168D0EE-914A-4CD0-ACA4-A7E24191D53B}" dt="2020-04-30T16:00:56.462" v="409" actId="1035"/>
          <ac:cxnSpMkLst>
            <pc:docMk/>
            <pc:sldMk cId="569716832" sldId="8842"/>
            <ac:cxnSpMk id="136" creationId="{ABD87B3A-4F92-465F-9581-66A30FF11C50}"/>
          </ac:cxnSpMkLst>
        </pc:cxnChg>
        <pc:cxnChg chg="mod">
          <ac:chgData name="Hickey, Claudette" userId="71e19957-b843-4df7-8271-6169398ba655" providerId="ADAL" clId="{B168D0EE-914A-4CD0-ACA4-A7E24191D53B}" dt="2020-04-30T16:00:56.462" v="409" actId="1035"/>
          <ac:cxnSpMkLst>
            <pc:docMk/>
            <pc:sldMk cId="569716832" sldId="8842"/>
            <ac:cxnSpMk id="137" creationId="{0457EA85-F457-407A-B39E-064C51FA6864}"/>
          </ac:cxnSpMkLst>
        </pc:cxnChg>
        <pc:cxnChg chg="mod">
          <ac:chgData name="Hickey, Claudette" userId="71e19957-b843-4df7-8271-6169398ba655" providerId="ADAL" clId="{B168D0EE-914A-4CD0-ACA4-A7E24191D53B}" dt="2020-04-30T16:00:56.462" v="409" actId="1035"/>
          <ac:cxnSpMkLst>
            <pc:docMk/>
            <pc:sldMk cId="569716832" sldId="8842"/>
            <ac:cxnSpMk id="143" creationId="{5EFDB00F-9447-45AE-829E-DA1189595C26}"/>
          </ac:cxnSpMkLst>
        </pc:cxnChg>
        <pc:cxnChg chg="mod">
          <ac:chgData name="Hickey, Claudette" userId="71e19957-b843-4df7-8271-6169398ba655" providerId="ADAL" clId="{B168D0EE-914A-4CD0-ACA4-A7E24191D53B}" dt="2020-04-30T18:53:05.795" v="1370" actId="14100"/>
          <ac:cxnSpMkLst>
            <pc:docMk/>
            <pc:sldMk cId="569716832" sldId="8842"/>
            <ac:cxnSpMk id="152" creationId="{C9B05210-CC75-4938-9D9D-A32DCBC7BD7B}"/>
          </ac:cxnSpMkLst>
        </pc:cxnChg>
        <pc:cxnChg chg="mod">
          <ac:chgData name="Hickey, Claudette" userId="71e19957-b843-4df7-8271-6169398ba655" providerId="ADAL" clId="{B168D0EE-914A-4CD0-ACA4-A7E24191D53B}" dt="2020-04-30T18:52:54.914" v="1367" actId="14100"/>
          <ac:cxnSpMkLst>
            <pc:docMk/>
            <pc:sldMk cId="569716832" sldId="8842"/>
            <ac:cxnSpMk id="155" creationId="{B812BF1B-19C1-47D2-B553-FF854E56B047}"/>
          </ac:cxnSpMkLst>
        </pc:cxnChg>
        <pc:cxnChg chg="del">
          <ac:chgData name="Hickey, Claudette" userId="71e19957-b843-4df7-8271-6169398ba655" providerId="ADAL" clId="{B168D0EE-914A-4CD0-ACA4-A7E24191D53B}" dt="2020-04-30T15:56:32.339" v="335" actId="478"/>
          <ac:cxnSpMkLst>
            <pc:docMk/>
            <pc:sldMk cId="569716832" sldId="8842"/>
            <ac:cxnSpMk id="156" creationId="{958FF239-07DD-4116-AA2C-614694D5CFA2}"/>
          </ac:cxnSpMkLst>
        </pc:cxnChg>
        <pc:cxnChg chg="mod">
          <ac:chgData name="Hickey, Claudette" userId="71e19957-b843-4df7-8271-6169398ba655" providerId="ADAL" clId="{B168D0EE-914A-4CD0-ACA4-A7E24191D53B}" dt="2020-04-30T17:48:44.215" v="1087" actId="208"/>
          <ac:cxnSpMkLst>
            <pc:docMk/>
            <pc:sldMk cId="569716832" sldId="8842"/>
            <ac:cxnSpMk id="161" creationId="{7CB58EF7-BFD0-46BE-899E-4566CF9F9E1D}"/>
          </ac:cxnSpMkLst>
        </pc:cxnChg>
        <pc:cxnChg chg="del mod">
          <ac:chgData name="Hickey, Claudette" userId="71e19957-b843-4df7-8271-6169398ba655" providerId="ADAL" clId="{B168D0EE-914A-4CD0-ACA4-A7E24191D53B}" dt="2020-04-30T18:40:24.156" v="1106" actId="478"/>
          <ac:cxnSpMkLst>
            <pc:docMk/>
            <pc:sldMk cId="569716832" sldId="8842"/>
            <ac:cxnSpMk id="165" creationId="{4FB39E1E-4BA4-4ED0-9B30-182CDB1A6DBE}"/>
          </ac:cxnSpMkLst>
        </pc:cxnChg>
        <pc:cxnChg chg="mod">
          <ac:chgData name="Hickey, Claudette" userId="71e19957-b843-4df7-8271-6169398ba655" providerId="ADAL" clId="{B168D0EE-914A-4CD0-ACA4-A7E24191D53B}" dt="2020-04-30T18:51:28.996" v="1337" actId="1036"/>
          <ac:cxnSpMkLst>
            <pc:docMk/>
            <pc:sldMk cId="569716832" sldId="8842"/>
            <ac:cxnSpMk id="173" creationId="{7D8A4101-D54D-4F85-AA33-93E20C2417AD}"/>
          </ac:cxnSpMkLst>
        </pc:cxnChg>
        <pc:cxnChg chg="mod">
          <ac:chgData name="Hickey, Claudette" userId="71e19957-b843-4df7-8271-6169398ba655" providerId="ADAL" clId="{B168D0EE-914A-4CD0-ACA4-A7E24191D53B}" dt="2020-04-30T16:00:56.462" v="409" actId="1035"/>
          <ac:cxnSpMkLst>
            <pc:docMk/>
            <pc:sldMk cId="569716832" sldId="8842"/>
            <ac:cxnSpMk id="175" creationId="{63BFEEED-CEAF-4849-8423-DDCEC4698076}"/>
          </ac:cxnSpMkLst>
        </pc:cxnChg>
        <pc:cxnChg chg="mod">
          <ac:chgData name="Hickey, Claudette" userId="71e19957-b843-4df7-8271-6169398ba655" providerId="ADAL" clId="{B168D0EE-914A-4CD0-ACA4-A7E24191D53B}" dt="2020-04-30T16:13:50.340" v="937" actId="14100"/>
          <ac:cxnSpMkLst>
            <pc:docMk/>
            <pc:sldMk cId="569716832" sldId="8842"/>
            <ac:cxnSpMk id="236" creationId="{8DE38AA4-B8A2-4A64-82F3-5A07EF3BF435}"/>
          </ac:cxnSpMkLst>
        </pc:cxnChg>
        <pc:cxnChg chg="mod">
          <ac:chgData name="Hickey, Claudette" userId="71e19957-b843-4df7-8271-6169398ba655" providerId="ADAL" clId="{B168D0EE-914A-4CD0-ACA4-A7E24191D53B}" dt="2020-04-30T16:11:40.492" v="919" actId="14100"/>
          <ac:cxnSpMkLst>
            <pc:docMk/>
            <pc:sldMk cId="569716832" sldId="8842"/>
            <ac:cxnSpMk id="239" creationId="{D4539E18-2A30-4926-9C3B-AB2BBACBFA55}"/>
          </ac:cxnSpMkLst>
        </pc:cxnChg>
        <pc:cxnChg chg="mod">
          <ac:chgData name="Hickey, Claudette" userId="71e19957-b843-4df7-8271-6169398ba655" providerId="ADAL" clId="{B168D0EE-914A-4CD0-ACA4-A7E24191D53B}" dt="2020-04-30T16:13:35.883" v="934" actId="14100"/>
          <ac:cxnSpMkLst>
            <pc:docMk/>
            <pc:sldMk cId="569716832" sldId="8842"/>
            <ac:cxnSpMk id="252" creationId="{101E6754-8612-43EE-B2C5-A1B792F382BB}"/>
          </ac:cxnSpMkLst>
        </pc:cxnChg>
      </pc:sldChg>
      <pc:sldChg chg="add del">
        <pc:chgData name="Hickey, Claudette" userId="71e19957-b843-4df7-8271-6169398ba655" providerId="ADAL" clId="{B168D0EE-914A-4CD0-ACA4-A7E24191D53B}" dt="2020-04-30T21:09:54.940" v="3339" actId="47"/>
        <pc:sldMkLst>
          <pc:docMk/>
          <pc:sldMk cId="2849093987" sldId="8843"/>
        </pc:sldMkLst>
      </pc:sldChg>
      <pc:sldChg chg="add del">
        <pc:chgData name="Hickey, Claudette" userId="71e19957-b843-4df7-8271-6169398ba655" providerId="ADAL" clId="{B168D0EE-914A-4CD0-ACA4-A7E24191D53B}" dt="2020-04-30T15:50:49.685" v="84"/>
        <pc:sldMkLst>
          <pc:docMk/>
          <pc:sldMk cId="3490367191" sldId="8843"/>
        </pc:sldMkLst>
      </pc:sldChg>
    </pc:docChg>
  </pc:docChgLst>
  <pc:docChgLst>
    <pc:chgData name="Pierce, John A" userId="S::pierceja@aetna.com::b4d1c5e8-ca36-45fe-bf6e-52e4864f9769" providerId="AD" clId="Web-{32A2A314-8946-1D31-39A2-9606D8FA85B6}"/>
    <pc:docChg chg="modSld">
      <pc:chgData name="Pierce, John A" userId="S::pierceja@aetna.com::b4d1c5e8-ca36-45fe-bf6e-52e4864f9769" providerId="AD" clId="Web-{32A2A314-8946-1D31-39A2-9606D8FA85B6}" dt="2020-06-10T19:49:32.803" v="7"/>
      <pc:docMkLst>
        <pc:docMk/>
      </pc:docMkLst>
      <pc:sldChg chg="addSp modSp">
        <pc:chgData name="Pierce, John A" userId="S::pierceja@aetna.com::b4d1c5e8-ca36-45fe-bf6e-52e4864f9769" providerId="AD" clId="Web-{32A2A314-8946-1D31-39A2-9606D8FA85B6}" dt="2020-06-10T19:49:32.803" v="7"/>
        <pc:sldMkLst>
          <pc:docMk/>
          <pc:sldMk cId="2832400647" sldId="8848"/>
        </pc:sldMkLst>
        <pc:spChg chg="mod">
          <ac:chgData name="Pierce, John A" userId="S::pierceja@aetna.com::b4d1c5e8-ca36-45fe-bf6e-52e4864f9769" providerId="AD" clId="Web-{32A2A314-8946-1D31-39A2-9606D8FA85B6}" dt="2020-06-10T19:12:12.466" v="5" actId="20577"/>
          <ac:spMkLst>
            <pc:docMk/>
            <pc:sldMk cId="2832400647" sldId="8848"/>
            <ac:spMk id="3" creationId="{A0BC17B1-1AC4-45F0-BB9F-5E05EA5294E7}"/>
          </ac:spMkLst>
        </pc:spChg>
        <pc:spChg chg="mod">
          <ac:chgData name="Pierce, John A" userId="S::pierceja@aetna.com::b4d1c5e8-ca36-45fe-bf6e-52e4864f9769" providerId="AD" clId="Web-{32A2A314-8946-1D31-39A2-9606D8FA85B6}" dt="2020-06-10T19:05:01.249" v="2" actId="1076"/>
          <ac:spMkLst>
            <pc:docMk/>
            <pc:sldMk cId="2832400647" sldId="8848"/>
            <ac:spMk id="34" creationId="{388E84FF-7578-47AB-841E-63D2B75309E6}"/>
          </ac:spMkLst>
        </pc:spChg>
        <pc:spChg chg="add mod">
          <ac:chgData name="Pierce, John A" userId="S::pierceja@aetna.com::b4d1c5e8-ca36-45fe-bf6e-52e4864f9769" providerId="AD" clId="Web-{32A2A314-8946-1D31-39A2-9606D8FA85B6}" dt="2020-06-10T19:05:01.296" v="3" actId="1076"/>
          <ac:spMkLst>
            <pc:docMk/>
            <pc:sldMk cId="2832400647" sldId="8848"/>
            <ac:spMk id="44" creationId="{DDCC52B0-FF38-497A-9407-1E2476D31F38}"/>
          </ac:spMkLst>
        </pc:spChg>
        <pc:graphicFrameChg chg="mod modGraphic">
          <ac:chgData name="Pierce, John A" userId="S::pierceja@aetna.com::b4d1c5e8-ca36-45fe-bf6e-52e4864f9769" providerId="AD" clId="Web-{32A2A314-8946-1D31-39A2-9606D8FA85B6}" dt="2020-06-10T19:49:32.803" v="7"/>
          <ac:graphicFrameMkLst>
            <pc:docMk/>
            <pc:sldMk cId="2832400647" sldId="8848"/>
            <ac:graphicFrameMk id="4" creationId="{080F0C59-3CB7-49D7-8FFD-999E957AF30D}"/>
          </ac:graphicFrameMkLst>
        </pc:graphicFrameChg>
      </pc:sldChg>
    </pc:docChg>
  </pc:docChgLst>
  <pc:docChgLst>
    <pc:chgData name="Hickey, Claudette" userId="S::hickeyc@aetna.com::71e19957-b843-4df7-8271-6169398ba655" providerId="AD" clId="Web-{32688666-3827-4053-98E5-40CBF5D6F28C}"/>
    <pc:docChg chg="modSld">
      <pc:chgData name="Hickey, Claudette" userId="S::hickeyc@aetna.com::71e19957-b843-4df7-8271-6169398ba655" providerId="AD" clId="Web-{32688666-3827-4053-98E5-40CBF5D6F28C}" dt="2020-05-06T17:07:07.686" v="7" actId="20577"/>
      <pc:docMkLst>
        <pc:docMk/>
      </pc:docMkLst>
      <pc:sldChg chg="modSp">
        <pc:chgData name="Hickey, Claudette" userId="S::hickeyc@aetna.com::71e19957-b843-4df7-8271-6169398ba655" providerId="AD" clId="Web-{32688666-3827-4053-98E5-40CBF5D6F28C}" dt="2020-05-06T17:06:50.905" v="5" actId="20577"/>
        <pc:sldMkLst>
          <pc:docMk/>
          <pc:sldMk cId="3974141211" sldId="8827"/>
        </pc:sldMkLst>
        <pc:spChg chg="mod">
          <ac:chgData name="Hickey, Claudette" userId="S::hickeyc@aetna.com::71e19957-b843-4df7-8271-6169398ba655" providerId="AD" clId="Web-{32688666-3827-4053-98E5-40CBF5D6F28C}" dt="2020-05-06T17:06:41.951" v="2" actId="20577"/>
          <ac:spMkLst>
            <pc:docMk/>
            <pc:sldMk cId="3974141211" sldId="8827"/>
            <ac:spMk id="22" creationId="{B77FBC4E-DD1B-4820-8E16-51C59D9B6459}"/>
          </ac:spMkLst>
        </pc:spChg>
        <pc:spChg chg="mod">
          <ac:chgData name="Hickey, Claudette" userId="S::hickeyc@aetna.com::71e19957-b843-4df7-8271-6169398ba655" providerId="AD" clId="Web-{32688666-3827-4053-98E5-40CBF5D6F28C}" dt="2020-05-06T17:06:50.905" v="5" actId="20577"/>
          <ac:spMkLst>
            <pc:docMk/>
            <pc:sldMk cId="3974141211" sldId="8827"/>
            <ac:spMk id="37" creationId="{2DD69F45-5659-4609-93A7-65E56989F0B9}"/>
          </ac:spMkLst>
        </pc:spChg>
      </pc:sldChg>
    </pc:docChg>
  </pc:docChgLst>
  <pc:docChgLst>
    <pc:chgData name="Claudette" userId="71e19957-b843-4df7-8271-6169398ba655" providerId="ADAL" clId="{F16EA892-5C14-4F4C-BEF4-B9A683FC3E2A}"/>
    <pc:docChg chg="undo custSel addSld delSld modSld">
      <pc:chgData name="Claudette" userId="71e19957-b843-4df7-8271-6169398ba655" providerId="ADAL" clId="{F16EA892-5C14-4F4C-BEF4-B9A683FC3E2A}" dt="2020-05-18T13:34:52.188" v="711" actId="20577"/>
      <pc:docMkLst>
        <pc:docMk/>
      </pc:docMkLst>
      <pc:sldChg chg="delSp modSp del mod">
        <pc:chgData name="Claudette" userId="71e19957-b843-4df7-8271-6169398ba655" providerId="ADAL" clId="{F16EA892-5C14-4F4C-BEF4-B9A683FC3E2A}" dt="2020-05-18T13:30:00.830" v="419" actId="47"/>
        <pc:sldMkLst>
          <pc:docMk/>
          <pc:sldMk cId="1755395930" sldId="284"/>
        </pc:sldMkLst>
        <pc:spChg chg="mod">
          <ac:chgData name="Claudette" userId="71e19957-b843-4df7-8271-6169398ba655" providerId="ADAL" clId="{F16EA892-5C14-4F4C-BEF4-B9A683FC3E2A}" dt="2020-05-18T13:29:20.914" v="416" actId="1076"/>
          <ac:spMkLst>
            <pc:docMk/>
            <pc:sldMk cId="1755395930" sldId="284"/>
            <ac:spMk id="18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28:46.314" v="413" actId="1076"/>
          <ac:spMkLst>
            <pc:docMk/>
            <pc:sldMk cId="1755395930" sldId="284"/>
            <ac:spMk id="20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29:12.489" v="414" actId="1076"/>
          <ac:spMkLst>
            <pc:docMk/>
            <pc:sldMk cId="1755395930" sldId="284"/>
            <ac:spMk id="21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29:28.345" v="418" actId="1076"/>
          <ac:spMkLst>
            <pc:docMk/>
            <pc:sldMk cId="1755395930" sldId="284"/>
            <ac:spMk id="22" creationId="{00000000-0000-0000-0000-000000000000}"/>
          </ac:spMkLst>
        </pc:spChg>
        <pc:spChg chg="del">
          <ac:chgData name="Claudette" userId="71e19957-b843-4df7-8271-6169398ba655" providerId="ADAL" clId="{F16EA892-5C14-4F4C-BEF4-B9A683FC3E2A}" dt="2020-05-18T13:28:34.019" v="412" actId="478"/>
          <ac:spMkLst>
            <pc:docMk/>
            <pc:sldMk cId="1755395930" sldId="284"/>
            <ac:spMk id="26" creationId="{00000000-0000-0000-0000-000000000000}"/>
          </ac:spMkLst>
        </pc:spChg>
        <pc:cxnChg chg="mod">
          <ac:chgData name="Claudette" userId="71e19957-b843-4df7-8271-6169398ba655" providerId="ADAL" clId="{F16EA892-5C14-4F4C-BEF4-B9A683FC3E2A}" dt="2020-05-18T13:29:24.649" v="417" actId="1076"/>
          <ac:cxnSpMkLst>
            <pc:docMk/>
            <pc:sldMk cId="1755395930" sldId="284"/>
            <ac:cxnSpMk id="6" creationId="{00000000-0000-0000-0000-000000000000}"/>
          </ac:cxnSpMkLst>
        </pc:cxnChg>
      </pc:sldChg>
      <pc:sldChg chg="modSp mod">
        <pc:chgData name="Claudette" userId="71e19957-b843-4df7-8271-6169398ba655" providerId="ADAL" clId="{F16EA892-5C14-4F4C-BEF4-B9A683FC3E2A}" dt="2020-05-18T13:34:52.188" v="711" actId="20577"/>
        <pc:sldMkLst>
          <pc:docMk/>
          <pc:sldMk cId="49975999" sldId="286"/>
        </pc:sldMkLst>
        <pc:spChg chg="mod">
          <ac:chgData name="Claudette" userId="71e19957-b843-4df7-8271-6169398ba655" providerId="ADAL" clId="{F16EA892-5C14-4F4C-BEF4-B9A683FC3E2A}" dt="2020-05-18T13:34:52.188" v="711" actId="20577"/>
          <ac:spMkLst>
            <pc:docMk/>
            <pc:sldMk cId="49975999" sldId="286"/>
            <ac:spMk id="7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31:02.263" v="458" actId="20577"/>
          <ac:spMkLst>
            <pc:docMk/>
            <pc:sldMk cId="49975999" sldId="286"/>
            <ac:spMk id="10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31:23.343" v="476" actId="20577"/>
          <ac:spMkLst>
            <pc:docMk/>
            <pc:sldMk cId="49975999" sldId="286"/>
            <ac:spMk id="11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33:05.061" v="576" actId="20577"/>
          <ac:spMkLst>
            <pc:docMk/>
            <pc:sldMk cId="49975999" sldId="286"/>
            <ac:spMk id="13" creationId="{00000000-0000-0000-0000-000000000000}"/>
          </ac:spMkLst>
        </pc:spChg>
        <pc:spChg chg="mod">
          <ac:chgData name="Claudette" userId="71e19957-b843-4df7-8271-6169398ba655" providerId="ADAL" clId="{F16EA892-5C14-4F4C-BEF4-B9A683FC3E2A}" dt="2020-05-18T13:30:30.048" v="429" actId="20577"/>
          <ac:spMkLst>
            <pc:docMk/>
            <pc:sldMk cId="49975999" sldId="286"/>
            <ac:spMk id="16" creationId="{00000000-0000-0000-0000-000000000000}"/>
          </ac:spMkLst>
        </pc:spChg>
      </pc:sldChg>
      <pc:sldChg chg="addSp delSp modSp new mod">
        <pc:chgData name="Claudette" userId="71e19957-b843-4df7-8271-6169398ba655" providerId="ADAL" clId="{F16EA892-5C14-4F4C-BEF4-B9A683FC3E2A}" dt="2020-05-18T13:27:32.595" v="411" actId="403"/>
        <pc:sldMkLst>
          <pc:docMk/>
          <pc:sldMk cId="142304339" sldId="8846"/>
        </pc:sldMkLst>
        <pc:spChg chg="mod">
          <ac:chgData name="Claudette" userId="71e19957-b843-4df7-8271-6169398ba655" providerId="ADAL" clId="{F16EA892-5C14-4F4C-BEF4-B9A683FC3E2A}" dt="2020-05-18T13:11:18.823" v="82"/>
          <ac:spMkLst>
            <pc:docMk/>
            <pc:sldMk cId="142304339" sldId="8846"/>
            <ac:spMk id="2" creationId="{FCA63615-7511-47EE-8B2B-EED37CD85176}"/>
          </ac:spMkLst>
        </pc:spChg>
        <pc:spChg chg="mod">
          <ac:chgData name="Claudette" userId="71e19957-b843-4df7-8271-6169398ba655" providerId="ADAL" clId="{F16EA892-5C14-4F4C-BEF4-B9A683FC3E2A}" dt="2020-05-18T13:15:31.701" v="408" actId="20577"/>
          <ac:spMkLst>
            <pc:docMk/>
            <pc:sldMk cId="142304339" sldId="8846"/>
            <ac:spMk id="3" creationId="{6C06840F-267B-441C-9289-7F36F99DE977}"/>
          </ac:spMkLst>
        </pc:spChg>
        <pc:spChg chg="add mod">
          <ac:chgData name="Claudette" userId="71e19957-b843-4df7-8271-6169398ba655" providerId="ADAL" clId="{F16EA892-5C14-4F4C-BEF4-B9A683FC3E2A}" dt="2020-05-18T13:14:46.535" v="400" actId="1036"/>
          <ac:spMkLst>
            <pc:docMk/>
            <pc:sldMk cId="142304339" sldId="8846"/>
            <ac:spMk id="4" creationId="{C782244C-BD48-4119-AF70-C890E41B60D8}"/>
          </ac:spMkLst>
        </pc:spChg>
        <pc:spChg chg="add mod">
          <ac:chgData name="Claudette" userId="71e19957-b843-4df7-8271-6169398ba655" providerId="ADAL" clId="{F16EA892-5C14-4F4C-BEF4-B9A683FC3E2A}" dt="2020-05-18T13:10:51.186" v="81" actId="1038"/>
          <ac:spMkLst>
            <pc:docMk/>
            <pc:sldMk cId="142304339" sldId="8846"/>
            <ac:spMk id="5" creationId="{3078C3B0-CC47-4B87-82E9-35FB5FA50803}"/>
          </ac:spMkLst>
        </pc:spChg>
        <pc:spChg chg="add mod">
          <ac:chgData name="Claudette" userId="71e19957-b843-4df7-8271-6169398ba655" providerId="ADAL" clId="{F16EA892-5C14-4F4C-BEF4-B9A683FC3E2A}" dt="2020-05-18T13:15:06.789" v="405" actId="1076"/>
          <ac:spMkLst>
            <pc:docMk/>
            <pc:sldMk cId="142304339" sldId="8846"/>
            <ac:spMk id="6" creationId="{15B292D5-701A-4942-9DB0-E0ABA824231F}"/>
          </ac:spMkLst>
        </pc:spChg>
        <pc:spChg chg="add mod">
          <ac:chgData name="Claudette" userId="71e19957-b843-4df7-8271-6169398ba655" providerId="ADAL" clId="{F16EA892-5C14-4F4C-BEF4-B9A683FC3E2A}" dt="2020-05-18T13:14:46.535" v="400" actId="1036"/>
          <ac:spMkLst>
            <pc:docMk/>
            <pc:sldMk cId="142304339" sldId="8846"/>
            <ac:spMk id="7" creationId="{16FDDD41-C6D4-46A5-9362-705F8AA81BEB}"/>
          </ac:spMkLst>
        </pc:spChg>
        <pc:spChg chg="add mod">
          <ac:chgData name="Claudette" userId="71e19957-b843-4df7-8271-6169398ba655" providerId="ADAL" clId="{F16EA892-5C14-4F4C-BEF4-B9A683FC3E2A}" dt="2020-05-18T13:27:32.595" v="411" actId="403"/>
          <ac:spMkLst>
            <pc:docMk/>
            <pc:sldMk cId="142304339" sldId="8846"/>
            <ac:spMk id="8" creationId="{68ED56A0-F641-4085-887B-7F54BC451333}"/>
          </ac:spMkLst>
        </pc:spChg>
        <pc:spChg chg="add mod">
          <ac:chgData name="Claudette" userId="71e19957-b843-4df7-8271-6169398ba655" providerId="ADAL" clId="{F16EA892-5C14-4F4C-BEF4-B9A683FC3E2A}" dt="2020-05-18T13:14:19.157" v="346" actId="1076"/>
          <ac:spMkLst>
            <pc:docMk/>
            <pc:sldMk cId="142304339" sldId="8846"/>
            <ac:spMk id="9" creationId="{23179986-0C88-4224-AE3D-5D6FF58826B9}"/>
          </ac:spMkLst>
        </pc:spChg>
        <pc:spChg chg="add mod">
          <ac:chgData name="Claudette" userId="71e19957-b843-4df7-8271-6169398ba655" providerId="ADAL" clId="{F16EA892-5C14-4F4C-BEF4-B9A683FC3E2A}" dt="2020-05-18T13:10:51.186" v="81" actId="1038"/>
          <ac:spMkLst>
            <pc:docMk/>
            <pc:sldMk cId="142304339" sldId="8846"/>
            <ac:spMk id="10" creationId="{8ADA27CA-592A-4EC1-B4BE-24D4D6D840E0}"/>
          </ac:spMkLst>
        </pc:spChg>
        <pc:spChg chg="add mod">
          <ac:chgData name="Claudette" userId="71e19957-b843-4df7-8271-6169398ba655" providerId="ADAL" clId="{F16EA892-5C14-4F4C-BEF4-B9A683FC3E2A}" dt="2020-05-18T13:14:46.535" v="400" actId="1036"/>
          <ac:spMkLst>
            <pc:docMk/>
            <pc:sldMk cId="142304339" sldId="8846"/>
            <ac:spMk id="12" creationId="{46EFB3D3-FA5D-459C-96AF-3980DA26A184}"/>
          </ac:spMkLst>
        </pc:spChg>
        <pc:spChg chg="add del mod">
          <ac:chgData name="Claudette" userId="71e19957-b843-4df7-8271-6169398ba655" providerId="ADAL" clId="{F16EA892-5C14-4F4C-BEF4-B9A683FC3E2A}" dt="2020-05-18T13:13:41.728" v="340" actId="478"/>
          <ac:spMkLst>
            <pc:docMk/>
            <pc:sldMk cId="142304339" sldId="8846"/>
            <ac:spMk id="15" creationId="{6FB45931-86A8-41F9-BE64-B5EEBE7A26F4}"/>
          </ac:spMkLst>
        </pc:spChg>
        <pc:spChg chg="add mod">
          <ac:chgData name="Claudette" userId="71e19957-b843-4df7-8271-6169398ba655" providerId="ADAL" clId="{F16EA892-5C14-4F4C-BEF4-B9A683FC3E2A}" dt="2020-05-18T13:14:02.391" v="342" actId="1076"/>
          <ac:spMkLst>
            <pc:docMk/>
            <pc:sldMk cId="142304339" sldId="8846"/>
            <ac:spMk id="16" creationId="{8094175C-B48A-4779-BE1B-1F276E23E1E7}"/>
          </ac:spMkLst>
        </pc:spChg>
        <pc:spChg chg="add mod">
          <ac:chgData name="Claudette" userId="71e19957-b843-4df7-8271-6169398ba655" providerId="ADAL" clId="{F16EA892-5C14-4F4C-BEF4-B9A683FC3E2A}" dt="2020-05-18T13:14:22.541" v="347" actId="1076"/>
          <ac:spMkLst>
            <pc:docMk/>
            <pc:sldMk cId="142304339" sldId="8846"/>
            <ac:spMk id="17" creationId="{7A38ED4B-07C9-4BD6-965C-BC53F4251B76}"/>
          </ac:spMkLst>
        </pc:spChg>
        <pc:cxnChg chg="add mod">
          <ac:chgData name="Claudette" userId="71e19957-b843-4df7-8271-6169398ba655" providerId="ADAL" clId="{F16EA892-5C14-4F4C-BEF4-B9A683FC3E2A}" dt="2020-05-18T13:15:18.543" v="407" actId="14100"/>
          <ac:cxnSpMkLst>
            <pc:docMk/>
            <pc:sldMk cId="142304339" sldId="8846"/>
            <ac:cxnSpMk id="11" creationId="{F475933F-E0FF-49B8-8016-D15934CBE03E}"/>
          </ac:cxnSpMkLst>
        </pc:cxnChg>
        <pc:cxnChg chg="add mod">
          <ac:chgData name="Claudette" userId="71e19957-b843-4df7-8271-6169398ba655" providerId="ADAL" clId="{F16EA892-5C14-4F4C-BEF4-B9A683FC3E2A}" dt="2020-05-18T13:15:18.543" v="407" actId="14100"/>
          <ac:cxnSpMkLst>
            <pc:docMk/>
            <pc:sldMk cId="142304339" sldId="8846"/>
            <ac:cxnSpMk id="13" creationId="{9A730646-272E-4D76-A494-418CF867483A}"/>
          </ac:cxnSpMkLst>
        </pc:cxnChg>
        <pc:cxnChg chg="add mod">
          <ac:chgData name="Claudette" userId="71e19957-b843-4df7-8271-6169398ba655" providerId="ADAL" clId="{F16EA892-5C14-4F4C-BEF4-B9A683FC3E2A}" dt="2020-05-18T13:15:18.543" v="407" actId="14100"/>
          <ac:cxnSpMkLst>
            <pc:docMk/>
            <pc:sldMk cId="142304339" sldId="8846"/>
            <ac:cxnSpMk id="14" creationId="{6BDF767A-F0A5-4E19-A138-9CC73A289ADB}"/>
          </ac:cxnSpMkLst>
        </pc:cxnChg>
        <pc:cxnChg chg="add mod">
          <ac:chgData name="Claudette" userId="71e19957-b843-4df7-8271-6169398ba655" providerId="ADAL" clId="{F16EA892-5C14-4F4C-BEF4-B9A683FC3E2A}" dt="2020-05-18T13:15:18.543" v="407" actId="14100"/>
          <ac:cxnSpMkLst>
            <pc:docMk/>
            <pc:sldMk cId="142304339" sldId="8846"/>
            <ac:cxnSpMk id="19" creationId="{DC954EF4-55FD-457E-9D28-58EEA68FC296}"/>
          </ac:cxnSpMkLst>
        </pc:cxnChg>
      </pc:sldChg>
    </pc:docChg>
  </pc:docChgLst>
  <pc:docChgLst>
    <pc:chgData name="Hickey, Claudette" userId="S::hickeyc@aetna.com::71e19957-b843-4df7-8271-6169398ba655" providerId="AD" clId="Web-{318830F3-A97E-A648-920F-B5858461176D}"/>
    <pc:docChg chg="modSld">
      <pc:chgData name="Hickey, Claudette" userId="S::hickeyc@aetna.com::71e19957-b843-4df7-8271-6169398ba655" providerId="AD" clId="Web-{318830F3-A97E-A648-920F-B5858461176D}" dt="2020-06-10T16:20:41.082" v="12" actId="1076"/>
      <pc:docMkLst>
        <pc:docMk/>
      </pc:docMkLst>
      <pc:sldChg chg="addSp modSp">
        <pc:chgData name="Hickey, Claudette" userId="S::hickeyc@aetna.com::71e19957-b843-4df7-8271-6169398ba655" providerId="AD" clId="Web-{318830F3-A97E-A648-920F-B5858461176D}" dt="2020-06-10T16:20:41.082" v="12" actId="1076"/>
        <pc:sldMkLst>
          <pc:docMk/>
          <pc:sldMk cId="2832400647" sldId="8848"/>
        </pc:sldMkLst>
        <pc:spChg chg="mod">
          <ac:chgData name="Hickey, Claudette" userId="S::hickeyc@aetna.com::71e19957-b843-4df7-8271-6169398ba655" providerId="AD" clId="Web-{318830F3-A97E-A648-920F-B5858461176D}" dt="2020-06-10T16:20:41.082" v="12" actId="1076"/>
          <ac:spMkLst>
            <pc:docMk/>
            <pc:sldMk cId="2832400647" sldId="8848"/>
            <ac:spMk id="37" creationId="{8DB3AD82-6707-4D81-9BED-C1C0B4A0A124}"/>
          </ac:spMkLst>
        </pc:spChg>
        <pc:spChg chg="add mod">
          <ac:chgData name="Hickey, Claudette" userId="S::hickeyc@aetna.com::71e19957-b843-4df7-8271-6169398ba655" providerId="AD" clId="Web-{318830F3-A97E-A648-920F-B5858461176D}" dt="2020-06-10T16:20:35.411" v="11" actId="1076"/>
          <ac:spMkLst>
            <pc:docMk/>
            <pc:sldMk cId="2832400647" sldId="8848"/>
            <ac:spMk id="43" creationId="{437F47EF-C5D4-43A1-839D-110503D23C3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B981FF-2D51-43A0-8475-1AEBE0183025}" type="doc">
      <dgm:prSet loTypeId="urn:microsoft.com/office/officeart/2005/8/layout/venn1" loCatId="relationship" qsTypeId="urn:microsoft.com/office/officeart/2005/8/quickstyle/simple1" qsCatId="simple" csTypeId="urn:microsoft.com/office/officeart/2005/8/colors/colorful4" csCatId="colorful" phldr="1"/>
      <dgm:spPr/>
    </dgm:pt>
    <dgm:pt modelId="{1AE0A4A8-BE56-4A5E-9569-D15F233B1E97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/>
            <a:t>PBM</a:t>
          </a:r>
        </a:p>
      </dgm:t>
    </dgm:pt>
    <dgm:pt modelId="{943D15E6-4A04-4982-9C5E-D6BB2DA5677C}" type="parTrans" cxnId="{33AD7E64-0967-4ACD-B889-5B63208AA82D}">
      <dgm:prSet/>
      <dgm:spPr/>
      <dgm:t>
        <a:bodyPr/>
        <a:lstStyle/>
        <a:p>
          <a:endParaRPr lang="en-US"/>
        </a:p>
      </dgm:t>
    </dgm:pt>
    <dgm:pt modelId="{5D669BF5-1425-4B95-AF6E-B1AE694FFFED}" type="sibTrans" cxnId="{33AD7E64-0967-4ACD-B889-5B63208AA82D}">
      <dgm:prSet/>
      <dgm:spPr/>
      <dgm:t>
        <a:bodyPr/>
        <a:lstStyle/>
        <a:p>
          <a:endParaRPr lang="en-US"/>
        </a:p>
      </dgm:t>
    </dgm:pt>
    <dgm:pt modelId="{CE2060C9-FB81-432E-BF87-AA88F4BB44A0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/>
            <a:t>Healthcare Benefits</a:t>
          </a:r>
        </a:p>
      </dgm:t>
    </dgm:pt>
    <dgm:pt modelId="{3C93EA3A-7B5E-4ED3-B321-DAD8F2922901}" type="parTrans" cxnId="{C1D80DC1-C8B3-40AC-B142-22E09B38703D}">
      <dgm:prSet/>
      <dgm:spPr/>
      <dgm:t>
        <a:bodyPr/>
        <a:lstStyle/>
        <a:p>
          <a:endParaRPr lang="en-US"/>
        </a:p>
      </dgm:t>
    </dgm:pt>
    <dgm:pt modelId="{442D7127-598B-403D-B597-750A0BB3171D}" type="sibTrans" cxnId="{C1D80DC1-C8B3-40AC-B142-22E09B38703D}">
      <dgm:prSet/>
      <dgm:spPr/>
      <dgm:t>
        <a:bodyPr/>
        <a:lstStyle/>
        <a:p>
          <a:endParaRPr lang="en-US"/>
        </a:p>
      </dgm:t>
    </dgm:pt>
    <dgm:pt modelId="{BBD7FB56-F0B7-49B6-BB81-A4D12FC19BAD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/>
            <a:t>Retail</a:t>
          </a:r>
        </a:p>
      </dgm:t>
    </dgm:pt>
    <dgm:pt modelId="{FFA34B4D-6A43-468B-9892-C38139D3DAB4}" type="parTrans" cxnId="{BC63BEDC-FC4B-4125-ABEB-1EBC0E737D48}">
      <dgm:prSet/>
      <dgm:spPr/>
      <dgm:t>
        <a:bodyPr/>
        <a:lstStyle/>
        <a:p>
          <a:endParaRPr lang="en-US"/>
        </a:p>
      </dgm:t>
    </dgm:pt>
    <dgm:pt modelId="{B25B0EA9-C013-48F7-B9F2-BB7E9B0F383D}" type="sibTrans" cxnId="{BC63BEDC-FC4B-4125-ABEB-1EBC0E737D48}">
      <dgm:prSet/>
      <dgm:spPr/>
      <dgm:t>
        <a:bodyPr/>
        <a:lstStyle/>
        <a:p>
          <a:endParaRPr lang="en-US"/>
        </a:p>
      </dgm:t>
    </dgm:pt>
    <dgm:pt modelId="{357BF3EA-671A-4B25-A300-0D1A0B15D457}" type="pres">
      <dgm:prSet presAssocID="{E1B981FF-2D51-43A0-8475-1AEBE0183025}" presName="compositeShape" presStyleCnt="0">
        <dgm:presLayoutVars>
          <dgm:chMax val="7"/>
          <dgm:dir/>
          <dgm:resizeHandles val="exact"/>
        </dgm:presLayoutVars>
      </dgm:prSet>
      <dgm:spPr/>
    </dgm:pt>
    <dgm:pt modelId="{C3169493-FC86-457E-B00F-7DFE88F56E0F}" type="pres">
      <dgm:prSet presAssocID="{1AE0A4A8-BE56-4A5E-9569-D15F233B1E97}" presName="circ1" presStyleLbl="vennNode1" presStyleIdx="0" presStyleCnt="3"/>
      <dgm:spPr/>
    </dgm:pt>
    <dgm:pt modelId="{747A8C5A-DB52-4F44-86E9-CCA87B9BCEBE}" type="pres">
      <dgm:prSet presAssocID="{1AE0A4A8-BE56-4A5E-9569-D15F233B1E97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8973079-F40D-429F-A2B1-BA56521F9C6A}" type="pres">
      <dgm:prSet presAssocID="{CE2060C9-FB81-432E-BF87-AA88F4BB44A0}" presName="circ2" presStyleLbl="vennNode1" presStyleIdx="1" presStyleCnt="3"/>
      <dgm:spPr/>
    </dgm:pt>
    <dgm:pt modelId="{1D36ED04-B43A-480D-8B14-67621EEB4EA1}" type="pres">
      <dgm:prSet presAssocID="{CE2060C9-FB81-432E-BF87-AA88F4BB44A0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3B937AD3-C2DB-436D-ACDE-E550E09FA2B4}" type="pres">
      <dgm:prSet presAssocID="{BBD7FB56-F0B7-49B6-BB81-A4D12FC19BAD}" presName="circ3" presStyleLbl="vennNode1" presStyleIdx="2" presStyleCnt="3"/>
      <dgm:spPr/>
    </dgm:pt>
    <dgm:pt modelId="{18FE6238-5C7E-4D97-B6CF-9EEE93C18493}" type="pres">
      <dgm:prSet presAssocID="{BBD7FB56-F0B7-49B6-BB81-A4D12FC19BAD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CFB7AF13-F0E8-4E1C-A0C2-ACB4A026F325}" type="presOf" srcId="{E1B981FF-2D51-43A0-8475-1AEBE0183025}" destId="{357BF3EA-671A-4B25-A300-0D1A0B15D457}" srcOrd="0" destOrd="0" presId="urn:microsoft.com/office/officeart/2005/8/layout/venn1"/>
    <dgm:cxn modelId="{25D58722-5D0E-4F78-931F-70EB23B1E3FE}" type="presOf" srcId="{BBD7FB56-F0B7-49B6-BB81-A4D12FC19BAD}" destId="{3B937AD3-C2DB-436D-ACDE-E550E09FA2B4}" srcOrd="0" destOrd="0" presId="urn:microsoft.com/office/officeart/2005/8/layout/venn1"/>
    <dgm:cxn modelId="{3BB5BB25-1070-4FF3-8C17-90AFBD4632AE}" type="presOf" srcId="{1AE0A4A8-BE56-4A5E-9569-D15F233B1E97}" destId="{747A8C5A-DB52-4F44-86E9-CCA87B9BCEBE}" srcOrd="1" destOrd="0" presId="urn:microsoft.com/office/officeart/2005/8/layout/venn1"/>
    <dgm:cxn modelId="{33AD7E64-0967-4ACD-B889-5B63208AA82D}" srcId="{E1B981FF-2D51-43A0-8475-1AEBE0183025}" destId="{1AE0A4A8-BE56-4A5E-9569-D15F233B1E97}" srcOrd="0" destOrd="0" parTransId="{943D15E6-4A04-4982-9C5E-D6BB2DA5677C}" sibTransId="{5D669BF5-1425-4B95-AF6E-B1AE694FFFED}"/>
    <dgm:cxn modelId="{5250169F-F01B-482A-8721-7F3D35789B35}" type="presOf" srcId="{CE2060C9-FB81-432E-BF87-AA88F4BB44A0}" destId="{68973079-F40D-429F-A2B1-BA56521F9C6A}" srcOrd="0" destOrd="0" presId="urn:microsoft.com/office/officeart/2005/8/layout/venn1"/>
    <dgm:cxn modelId="{C1D80DC1-C8B3-40AC-B142-22E09B38703D}" srcId="{E1B981FF-2D51-43A0-8475-1AEBE0183025}" destId="{CE2060C9-FB81-432E-BF87-AA88F4BB44A0}" srcOrd="1" destOrd="0" parTransId="{3C93EA3A-7B5E-4ED3-B321-DAD8F2922901}" sibTransId="{442D7127-598B-403D-B597-750A0BB3171D}"/>
    <dgm:cxn modelId="{7FE314D5-C229-4946-85EB-AD90A57DA85A}" type="presOf" srcId="{1AE0A4A8-BE56-4A5E-9569-D15F233B1E97}" destId="{C3169493-FC86-457E-B00F-7DFE88F56E0F}" srcOrd="0" destOrd="0" presId="urn:microsoft.com/office/officeart/2005/8/layout/venn1"/>
    <dgm:cxn modelId="{37490DDB-393E-4F0B-A128-C67A657A046E}" type="presOf" srcId="{CE2060C9-FB81-432E-BF87-AA88F4BB44A0}" destId="{1D36ED04-B43A-480D-8B14-67621EEB4EA1}" srcOrd="1" destOrd="0" presId="urn:microsoft.com/office/officeart/2005/8/layout/venn1"/>
    <dgm:cxn modelId="{BC63BEDC-FC4B-4125-ABEB-1EBC0E737D48}" srcId="{E1B981FF-2D51-43A0-8475-1AEBE0183025}" destId="{BBD7FB56-F0B7-49B6-BB81-A4D12FC19BAD}" srcOrd="2" destOrd="0" parTransId="{FFA34B4D-6A43-468B-9892-C38139D3DAB4}" sibTransId="{B25B0EA9-C013-48F7-B9F2-BB7E9B0F383D}"/>
    <dgm:cxn modelId="{73C656DE-99BB-4409-8E9E-D387285C62C4}" type="presOf" srcId="{BBD7FB56-F0B7-49B6-BB81-A4D12FC19BAD}" destId="{18FE6238-5C7E-4D97-B6CF-9EEE93C18493}" srcOrd="1" destOrd="0" presId="urn:microsoft.com/office/officeart/2005/8/layout/venn1"/>
    <dgm:cxn modelId="{985875BF-5F6A-4ABA-96D8-3D9B4EE220AA}" type="presParOf" srcId="{357BF3EA-671A-4B25-A300-0D1A0B15D457}" destId="{C3169493-FC86-457E-B00F-7DFE88F56E0F}" srcOrd="0" destOrd="0" presId="urn:microsoft.com/office/officeart/2005/8/layout/venn1"/>
    <dgm:cxn modelId="{66E870B9-BAD4-4480-9081-657B7336F353}" type="presParOf" srcId="{357BF3EA-671A-4B25-A300-0D1A0B15D457}" destId="{747A8C5A-DB52-4F44-86E9-CCA87B9BCEBE}" srcOrd="1" destOrd="0" presId="urn:microsoft.com/office/officeart/2005/8/layout/venn1"/>
    <dgm:cxn modelId="{2B8E48C8-5123-4FA4-BE50-D9794EFD094D}" type="presParOf" srcId="{357BF3EA-671A-4B25-A300-0D1A0B15D457}" destId="{68973079-F40D-429F-A2B1-BA56521F9C6A}" srcOrd="2" destOrd="0" presId="urn:microsoft.com/office/officeart/2005/8/layout/venn1"/>
    <dgm:cxn modelId="{36BA067C-FBF0-4558-82E1-B4AB09B6A90C}" type="presParOf" srcId="{357BF3EA-671A-4B25-A300-0D1A0B15D457}" destId="{1D36ED04-B43A-480D-8B14-67621EEB4EA1}" srcOrd="3" destOrd="0" presId="urn:microsoft.com/office/officeart/2005/8/layout/venn1"/>
    <dgm:cxn modelId="{30C184A0-D6CD-41CB-991C-5107DEBC7C1C}" type="presParOf" srcId="{357BF3EA-671A-4B25-A300-0D1A0B15D457}" destId="{3B937AD3-C2DB-436D-ACDE-E550E09FA2B4}" srcOrd="4" destOrd="0" presId="urn:microsoft.com/office/officeart/2005/8/layout/venn1"/>
    <dgm:cxn modelId="{F7B2812D-0EB8-4CF8-8A5A-CE96FE8446C6}" type="presParOf" srcId="{357BF3EA-671A-4B25-A300-0D1A0B15D457}" destId="{18FE6238-5C7E-4D97-B6CF-9EEE93C18493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169493-FC86-457E-B00F-7DFE88F56E0F}">
      <dsp:nvSpPr>
        <dsp:cNvPr id="0" name=""/>
        <dsp:cNvSpPr/>
      </dsp:nvSpPr>
      <dsp:spPr>
        <a:xfrm>
          <a:off x="1205861" y="32505"/>
          <a:ext cx="1560254" cy="1560254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BM</a:t>
          </a:r>
        </a:p>
      </dsp:txBody>
      <dsp:txXfrm>
        <a:off x="1413895" y="305549"/>
        <a:ext cx="1144186" cy="702114"/>
      </dsp:txXfrm>
    </dsp:sp>
    <dsp:sp modelId="{68973079-F40D-429F-A2B1-BA56521F9C6A}">
      <dsp:nvSpPr>
        <dsp:cNvPr id="0" name=""/>
        <dsp:cNvSpPr/>
      </dsp:nvSpPr>
      <dsp:spPr>
        <a:xfrm>
          <a:off x="1768853" y="1007664"/>
          <a:ext cx="1560254" cy="1560254"/>
        </a:xfrm>
        <a:prstGeom prst="ellipse">
          <a:avLst/>
        </a:prstGeom>
        <a:solidFill>
          <a:schemeClr val="accent4">
            <a:alpha val="50000"/>
            <a:hueOff val="-169799"/>
            <a:satOff val="-43442"/>
            <a:lumOff val="-1843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Healthcare Benefits</a:t>
          </a:r>
        </a:p>
      </dsp:txBody>
      <dsp:txXfrm>
        <a:off x="2246030" y="1410730"/>
        <a:ext cx="936152" cy="858139"/>
      </dsp:txXfrm>
    </dsp:sp>
    <dsp:sp modelId="{3B937AD3-C2DB-436D-ACDE-E550E09FA2B4}">
      <dsp:nvSpPr>
        <dsp:cNvPr id="0" name=""/>
        <dsp:cNvSpPr/>
      </dsp:nvSpPr>
      <dsp:spPr>
        <a:xfrm>
          <a:off x="642869" y="1007664"/>
          <a:ext cx="1560254" cy="1560254"/>
        </a:xfrm>
        <a:prstGeom prst="ellipse">
          <a:avLst/>
        </a:prstGeom>
        <a:solidFill>
          <a:schemeClr val="accent4">
            <a:alpha val="50000"/>
            <a:hueOff val="-339598"/>
            <a:satOff val="-86885"/>
            <a:lumOff val="-36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Retail</a:t>
          </a:r>
        </a:p>
      </dsp:txBody>
      <dsp:txXfrm>
        <a:off x="789793" y="1410730"/>
        <a:ext cx="936152" cy="8581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6/12/2020</a:t>
            </a:fld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6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9162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4119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4119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6991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162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8642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496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246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65887" lvl="1" defTabSz="931774">
              <a:defRPr/>
            </a:pPr>
            <a:endParaRPr lang="en-US" b="1"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65887" lvl="1"/>
            <a:endParaRPr lang="en-US">
              <a:solidFill>
                <a:schemeClr val="tx1"/>
              </a:solidFill>
              <a:latin typeface="Arial"/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098">
              <a:defRPr/>
            </a:pPr>
            <a:fld id="{50AD15A5-6128-B84F-818D-8AA5BDD9AF9D}" type="slidenum">
              <a:rPr lang="en-US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pPr defTabSz="930098">
                <a:defRPr/>
              </a:pPr>
              <a:t>25</a:t>
            </a:fld>
            <a:endParaRPr lang="en-US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6439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772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1650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0517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B6C1F-500F-452E-9E2B-9E97E81C0F3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498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00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30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1967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2950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787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1131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data visualization, survey, results, icons, circle</a:t>
            </a:r>
          </a:p>
          <a:p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r>
              <a:rPr lang="en-US" b="1"/>
              <a:t>Get the right data into the hands of the decision makers in a form they can quickly understand</a:t>
            </a:r>
            <a:endParaRPr lang="en-US"/>
          </a:p>
          <a:p>
            <a:r>
              <a:rPr lang="en-US" b="1"/>
              <a:t> and act on to drive better outcomes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A76E45-6B41-42DC-8BC0-4F32365D1B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8752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data visualization, survey, results, icons, circ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A76E45-6B41-42DC-8BC0-4F32365D1B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177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ovide a data platform that supports the ingestion, storage, processing, analysis, management and delivery of strategic data for the enterprise </a:t>
            </a:r>
            <a:r>
              <a:rPr lang="en-US">
                <a:cs typeface="Arial"/>
              </a:rPr>
              <a:t>​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807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987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0597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236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3071067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1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2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3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4282988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33577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97747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34824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07069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3933" y="2941079"/>
            <a:ext cx="456413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185021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BE SURE IMAGE IS </a:t>
            </a:r>
            <a:br>
              <a:rPr lang="en-US"/>
            </a:br>
            <a:r>
              <a:rPr lang="en-US"/>
              <a:t>DARK ENOUGH SO TYPE AND </a:t>
            </a:r>
            <a:br>
              <a:rPr lang="en-US"/>
            </a:br>
            <a:r>
              <a:rPr lang="en-US"/>
              <a:t>LOGO ARE READABLE</a:t>
            </a:r>
          </a:p>
          <a:p>
            <a:br>
              <a:rPr lang="en-US"/>
            </a:br>
            <a:r>
              <a:rPr lang="en-US"/>
              <a:t>Be sure to send image to </a:t>
            </a:r>
            <a:br>
              <a:rPr lang="en-US"/>
            </a:br>
            <a:r>
              <a:rPr lang="en-US"/>
              <a:t>back so logo sits on top of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5172" y="1196075"/>
            <a:ext cx="3069479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16404258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6318" y="3027447"/>
            <a:ext cx="6539366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5865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7574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011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320" y="455614"/>
            <a:ext cx="11277362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ivider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10354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 userDrawn="1"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 userDrawn="1"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46992" y="371027"/>
            <a:ext cx="9688623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994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>
            <a:grpSpLocks noChangeAspect="1"/>
          </p:cNvGrpSpPr>
          <p:nvPr userDrawn="1"/>
        </p:nvGrpSpPr>
        <p:grpSpPr>
          <a:xfrm>
            <a:off x="10579888" y="371026"/>
            <a:ext cx="1417689" cy="783522"/>
            <a:chOff x="7526204" y="2289887"/>
            <a:chExt cx="3108960" cy="1718692"/>
          </a:xfrm>
        </p:grpSpPr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63" name="TextBox 62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5" name="TextBox 64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6" name="TextBox 65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7" name="TextBox 66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8" name="TextBox 67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9" name="TextBox 68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0" name="TextBox 69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1" name="TextBox 70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2" name="TextBox 71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3" name="TextBox 72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4" name="TextBox 73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5" name="TextBox 74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584235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599" spc="-75" dirty="0">
                <a:latin typeface="+mj-lt"/>
              </a:defRPr>
            </a:lvl1pPr>
          </a:lstStyle>
          <a:p>
            <a:pPr lvl="0" defTabSz="685594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2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531" lvl="0" indent="-228531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31" lvl="0" indent="-228531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431720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98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7317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Open Sans Bold"/>
              <a:cs typeface="Open Sans Bold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0" baseline="0">
                <a:solidFill>
                  <a:schemeClr val="bg1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B9B34B8-0FE4-4B79-8CB4-41F033DA66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4C14BBCF-2FC3-4768-826A-507884263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9684414A-F73E-4E37-85DA-AFEDF839B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132C009E-C41B-436C-A758-DD25B5D6B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76A15C71-9FE1-4368-B822-4AB32B7D62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26221637-5DE1-46B8-B136-0466028FF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ED3FC61B-BC7A-4467-906C-0FCE4B133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98EEA294-B0A5-4DD4-BBB2-7987DE9CE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EB9BFDB7-2837-4646-96D6-9BEF7DA86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E80884AD-1549-49D0-AECA-382806FA1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C4CBEA3D-4544-4183-A01A-1D9DC436B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8380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Open Sans Bold"/>
              <a:cs typeface="Open Sans Bold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0" baseline="0">
                <a:solidFill>
                  <a:schemeClr val="bg1"/>
                </a:solidFill>
                <a:latin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>
              <a:solidFill>
                <a:schemeClr val="accent2"/>
              </a:solidFill>
              <a:latin typeface="+mj-lt"/>
              <a:cs typeface="Open Sans Bold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+mj-lt"/>
                <a:ea typeface="+mn-ea"/>
                <a:cs typeface="Open Sans Bold"/>
              </a:defRPr>
            </a:lvl1pPr>
          </a:lstStyle>
          <a:p>
            <a:pPr lvl="0"/>
            <a:r>
              <a:rPr lang="en-US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FF31F3A-5CE7-47F4-AB63-3569AD27A1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D540621A-FD8B-4CF6-AD3C-2EDE863F5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738D032A-DFC8-467B-B2C5-47DCFFBF9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C8FFE21-DB6F-4D2E-8A2A-018D14386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01A38506-74E0-4D8F-8293-5B39695E6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90822130-88E0-415F-A19B-C7934A826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4D52829-861C-45D8-AC95-87541610E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0E763851-23AE-44B0-AFD5-572174A77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C1FC1041-8EC7-4208-8558-3E94CABBE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600D3D1C-EAEC-4B87-BA03-C658325B7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1E97C1DE-A423-4E13-B7B7-AE4DEF717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2036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0" i="0" kern="1200" baseline="0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Page titles</a:t>
            </a:r>
          </a:p>
        </p:txBody>
      </p:sp>
    </p:spTree>
    <p:extLst>
      <p:ext uri="{BB962C8B-B14F-4D97-AF65-F5344CB8AC3E}">
        <p14:creationId xmlns:p14="http://schemas.microsoft.com/office/powerpoint/2010/main" val="4218341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2311975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2">
                  <a:lumMod val="20000"/>
                  <a:lumOff val="8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</a:rPr>
              <a:t>©2018 Aetna Inc.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2227138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8"/>
          <p:cNvSpPr txBox="1">
            <a:spLocks/>
          </p:cNvSpPr>
          <p:nvPr/>
        </p:nvSpPr>
        <p:spPr>
          <a:xfrm>
            <a:off x="547922" y="6418626"/>
            <a:ext cx="2012204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60000"/>
                    <a:lumOff val="40000"/>
                  </a:schemeClr>
                </a:solidFill>
              </a:rPr>
              <a:t>©2018 Aetna Inc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2549143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730638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803981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  <a:cs typeface="Open Sans Light"/>
              </a:rPr>
              <a:t>Proprietary</a:t>
            </a:r>
            <a:endParaRPr lang="en-US" sz="800" err="1">
              <a:solidFill>
                <a:srgbClr val="414141"/>
              </a:solidFill>
              <a:latin typeface="Calibri" panose="020F0502020204030204" pitchFamily="34" charset="0"/>
              <a:cs typeface="Open Sans Light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4076942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  <a:cs typeface="Open Sans Light"/>
              </a:rPr>
              <a:t>Proprietary</a:t>
            </a:r>
            <a:endParaRPr lang="en-US" sz="800" err="1">
              <a:solidFill>
                <a:srgbClr val="414141"/>
              </a:solidFill>
              <a:latin typeface="Calibri" panose="020F0502020204030204" pitchFamily="34" charset="0"/>
              <a:cs typeface="Open Sans Light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277274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10007541" y="5926238"/>
            <a:ext cx="1694204" cy="429644"/>
            <a:chOff x="5518839" y="6290820"/>
            <a:chExt cx="1249434" cy="316852"/>
          </a:xfrm>
          <a:solidFill>
            <a:schemeClr val="bg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Rectangle 6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Open Sans Bold"/>
              <a:cs typeface="Open Sans Bold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>
                <a:solidFill>
                  <a:srgbClr val="00859B"/>
                </a:solidFill>
                <a:latin typeface="Domaine Display Bold" panose="020A0803080505060203" pitchFamily="18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25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>
                <a:solidFill>
                  <a:schemeClr val="accent2"/>
                </a:solidFill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</p:spTree>
    <p:extLst>
      <p:ext uri="{BB962C8B-B14F-4D97-AF65-F5344CB8AC3E}">
        <p14:creationId xmlns:p14="http://schemas.microsoft.com/office/powerpoint/2010/main" val="1622640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9718397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6165960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119947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8995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9706525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1655938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49944999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7297183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305161205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035255101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482421636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8888390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5165744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92077004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43321755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406395626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1820462747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0588693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6460827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2204117597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894332704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935785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64025607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4484745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744362548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77926837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43661603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29146752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1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2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3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</a:t>
            </a:r>
          </a:p>
          <a:p>
            <a:pPr lvl="3"/>
            <a:r>
              <a:rPr lang="en-US"/>
              <a:t>Second-level</a:t>
            </a:r>
          </a:p>
          <a:p>
            <a:pPr lvl="4"/>
            <a:r>
              <a:rPr lang="en-US"/>
              <a:t>Third-level</a:t>
            </a:r>
          </a:p>
          <a:p>
            <a:pPr lvl="5"/>
            <a:r>
              <a:rPr lang="en-US"/>
              <a:t>Fourth-level</a:t>
            </a:r>
          </a:p>
          <a:p>
            <a:pPr lvl="6"/>
            <a:r>
              <a:rPr lang="en-US"/>
              <a:t>Fifth-level</a:t>
            </a:r>
          </a:p>
          <a:p>
            <a:pPr lvl="7"/>
            <a:r>
              <a:rPr lang="en-US"/>
              <a:t>Sixth-level</a:t>
            </a:r>
          </a:p>
          <a:p>
            <a:pPr lvl="8"/>
            <a:r>
              <a:rPr lang="en-US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656378040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797761733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2836"/>
            <a:ext cx="9667726" cy="4591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2976774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9210"/>
            <a:ext cx="9667726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7858403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0980435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185192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13933" y="2941079"/>
            <a:ext cx="456413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46905274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BE SURE IMAGE IS </a:t>
            </a:r>
            <a:br>
              <a:rPr lang="en-US"/>
            </a:br>
            <a:r>
              <a:rPr lang="en-US"/>
              <a:t>DARK ENOUGH SO TYPE AND </a:t>
            </a:r>
            <a:br>
              <a:rPr lang="en-US"/>
            </a:br>
            <a:r>
              <a:rPr lang="en-US"/>
              <a:t>LOGO ARE READABLE</a:t>
            </a:r>
          </a:p>
          <a:p>
            <a:br>
              <a:rPr lang="en-US"/>
            </a:br>
            <a:r>
              <a:rPr lang="en-US"/>
              <a:t>Be sure to send image to </a:t>
            </a:r>
            <a:br>
              <a:rPr lang="en-US"/>
            </a:br>
            <a:r>
              <a:rPr lang="en-US"/>
              <a:t>back so logo sits on top of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5172" y="1196075"/>
            <a:ext cx="3069479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1138653064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826318" y="3027447"/>
            <a:ext cx="6539366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1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948323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/>
        </p:nvGrpSpPr>
        <p:grpSpPr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318789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73336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321" y="455616"/>
            <a:ext cx="11277362" cy="5932487"/>
          </a:xfrm>
        </p:spPr>
        <p:txBody>
          <a:bodyPr anchor="ctr" anchorCtr="1"/>
          <a:lstStyle>
            <a:lvl1pPr marL="0" indent="0" algn="ctr">
              <a:buFontTx/>
              <a:buNone/>
              <a:tabLst>
                <a:tab pos="1201377" algn="l"/>
              </a:tabLst>
              <a:defRPr sz="7198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ctr">
              <a:spcBef>
                <a:spcPts val="1799"/>
              </a:spcBef>
              <a:buFontTx/>
              <a:buNone/>
              <a:tabLst>
                <a:tab pos="1201377" algn="l"/>
              </a:tabLs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377" algn="l"/>
              </a:tabLst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ivider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6B7469-F16D-42F9-8D1A-E0C1C64234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4011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7" imgW="498" imgH="499" progId="TCLayout.ActiveDocument.1">
                  <p:embed/>
                </p:oleObj>
              </mc:Choice>
              <mc:Fallback>
                <p:oleObj name="think-cell Slide" r:id="rId7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6B7469-F16D-42F9-8D1A-E0C1C6423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6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547740" y="152399"/>
            <a:ext cx="11070336" cy="868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US"/>
              <a:t>Insert slide title here</a:t>
            </a:r>
          </a:p>
        </p:txBody>
      </p:sp>
    </p:spTree>
    <p:extLst>
      <p:ext uri="{BB962C8B-B14F-4D97-AF65-F5344CB8AC3E}">
        <p14:creationId xmlns:p14="http://schemas.microsoft.com/office/powerpoint/2010/main" val="3554544220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374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 Name</a:t>
            </a:r>
            <a:endParaRPr lang="tr-TR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econd Level Title</a:t>
            </a:r>
            <a:endParaRPr lang="tr-TR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  <a:endParaRPr lang="tr-TR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4242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137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446475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 userDrawn="1"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 userDrawn="1"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46992" y="371027"/>
            <a:ext cx="9688623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994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>
            <a:grpSpLocks noChangeAspect="1"/>
          </p:cNvGrpSpPr>
          <p:nvPr userDrawn="1"/>
        </p:nvGrpSpPr>
        <p:grpSpPr>
          <a:xfrm>
            <a:off x="10579888" y="371026"/>
            <a:ext cx="1417689" cy="783522"/>
            <a:chOff x="7526204" y="2289887"/>
            <a:chExt cx="3108960" cy="1718692"/>
          </a:xfrm>
        </p:grpSpPr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63" name="TextBox 62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5" name="TextBox 64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6" name="TextBox 65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7" name="TextBox 66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8" name="TextBox 67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69" name="TextBox 68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0" name="TextBox 69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1" name="TextBox 70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2" name="TextBox 71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3" name="TextBox 72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4" name="TextBox 73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75" name="TextBox 74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3951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98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4036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696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1564776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- Idea Growth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>
          <a:xfrm>
            <a:off x="1590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DC576B5-C5F0-4AE1-859B-AF397F6782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2315" y="659178"/>
            <a:ext cx="1280538" cy="2279548"/>
          </a:xfrm>
          <a:prstGeom prst="rect">
            <a:avLst/>
          </a:prstGeom>
        </p:spPr>
      </p:pic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76842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1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1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4172458" y="1957351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398" b="1">
                <a:solidFill>
                  <a:schemeClr val="accent3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2" y="5940721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Title 1"/>
          <p:cNvSpPr txBox="1">
            <a:spLocks/>
          </p:cNvSpPr>
          <p:nvPr userDrawn="1"/>
        </p:nvSpPr>
        <p:spPr>
          <a:xfrm>
            <a:off x="2359283" y="883363"/>
            <a:ext cx="5205181" cy="9066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398" b="1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sp>
        <p:nvSpPr>
          <p:cNvPr id="60" name="Rectangle 59"/>
          <p:cNvSpPr/>
          <p:nvPr userDrawn="1"/>
        </p:nvSpPr>
        <p:spPr>
          <a:xfrm flipH="1">
            <a:off x="-1590" y="4732899"/>
            <a:ext cx="12193589" cy="3361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DEF47A6-05C7-438A-BC79-72BA77BAEF2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09513" y="2622494"/>
            <a:ext cx="3982487" cy="962025"/>
          </a:xfrm>
          <a:prstGeom prst="rect">
            <a:avLst/>
          </a:prstGeom>
        </p:spPr>
      </p:pic>
      <p:pic>
        <p:nvPicPr>
          <p:cNvPr id="19" name="Picture 18" descr="A tree with red leaves&#10;&#10;Description automatically generated">
            <a:extLst>
              <a:ext uri="{FF2B5EF4-FFF2-40B4-BE49-F238E27FC236}">
                <a16:creationId xmlns:a16="http://schemas.microsoft.com/office/drawing/2014/main" id="{57E2360A-5BC0-479C-861D-4BA9815BF92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85408" y="331839"/>
            <a:ext cx="2834398" cy="28380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019D290-EE0C-4AA6-89EF-0E0C65E2B3A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5093" y="1162714"/>
            <a:ext cx="894873" cy="777649"/>
          </a:xfrm>
          <a:prstGeom prst="rect">
            <a:avLst/>
          </a:prstGeom>
        </p:spPr>
      </p:pic>
      <p:pic>
        <p:nvPicPr>
          <p:cNvPr id="3" name="Picture 2" descr="A picture containing lit&#10;&#10;Description automatically generated">
            <a:extLst>
              <a:ext uri="{FF2B5EF4-FFF2-40B4-BE49-F238E27FC236}">
                <a16:creationId xmlns:a16="http://schemas.microsoft.com/office/drawing/2014/main" id="{B700E2FA-0BF6-431F-B80E-49FC521EB86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685200">
            <a:off x="1742679" y="2914961"/>
            <a:ext cx="1547261" cy="907168"/>
          </a:xfrm>
          <a:prstGeom prst="rect">
            <a:avLst/>
          </a:prstGeom>
        </p:spPr>
      </p:pic>
      <p:pic>
        <p:nvPicPr>
          <p:cNvPr id="61" name="Picture 60" descr="A picture containing lit&#10;&#10;Description automatically generated">
            <a:extLst>
              <a:ext uri="{FF2B5EF4-FFF2-40B4-BE49-F238E27FC236}">
                <a16:creationId xmlns:a16="http://schemas.microsoft.com/office/drawing/2014/main" id="{E65E3FC6-2EE9-4326-BF99-6CD38F09D7B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0492355">
            <a:off x="3860970" y="3512648"/>
            <a:ext cx="1547261" cy="907168"/>
          </a:xfrm>
          <a:prstGeom prst="rect">
            <a:avLst/>
          </a:prstGeom>
        </p:spPr>
      </p:pic>
      <p:pic>
        <p:nvPicPr>
          <p:cNvPr id="62" name="Picture 61" descr="A picture containing lit&#10;&#10;Description automatically generated">
            <a:extLst>
              <a:ext uri="{FF2B5EF4-FFF2-40B4-BE49-F238E27FC236}">
                <a16:creationId xmlns:a16="http://schemas.microsoft.com/office/drawing/2014/main" id="{EC06E53F-AE25-400D-A15E-F6BB68E78D7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19974934">
            <a:off x="5990182" y="3464042"/>
            <a:ext cx="1547261" cy="907168"/>
          </a:xfrm>
          <a:prstGeom prst="rect">
            <a:avLst/>
          </a:prstGeom>
        </p:spPr>
      </p:pic>
      <p:pic>
        <p:nvPicPr>
          <p:cNvPr id="63" name="Picture 62" descr="A picture containing lit&#10;&#10;Description automatically generated">
            <a:extLst>
              <a:ext uri="{FF2B5EF4-FFF2-40B4-BE49-F238E27FC236}">
                <a16:creationId xmlns:a16="http://schemas.microsoft.com/office/drawing/2014/main" id="{5BEAE8F9-E0FE-49A1-A2D9-69089A9E083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8050913">
            <a:off x="7775753" y="3234442"/>
            <a:ext cx="1546858" cy="9074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A6FBF99-48CF-4427-B920-45724E3F721E}"/>
              </a:ext>
            </a:extLst>
          </p:cNvPr>
          <p:cNvGrpSpPr/>
          <p:nvPr userDrawn="1"/>
        </p:nvGrpSpPr>
        <p:grpSpPr>
          <a:xfrm>
            <a:off x="504316" y="5402513"/>
            <a:ext cx="1930419" cy="1067172"/>
            <a:chOff x="504185" y="5402513"/>
            <a:chExt cx="1929916" cy="1067172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5A08354-7EE1-457D-A76C-B3473DC70114}"/>
                </a:ext>
              </a:extLst>
            </p:cNvPr>
            <p:cNvGrpSpPr/>
            <p:nvPr userDrawn="1"/>
          </p:nvGrpSpPr>
          <p:grpSpPr>
            <a:xfrm>
              <a:off x="842320" y="5759628"/>
              <a:ext cx="1333913" cy="513517"/>
              <a:chOff x="842320" y="5759628"/>
              <a:chExt cx="1333913" cy="513517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1088165" y="5759628"/>
                <a:ext cx="305222" cy="239748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842320" y="5774513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1419590" y="5839439"/>
                <a:ext cx="153881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1586865" y="5839439"/>
                <a:ext cx="157997" cy="16310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1316764" y="5842606"/>
                <a:ext cx="88339" cy="156771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1482599" y="6045115"/>
                <a:ext cx="202958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1948578" y="6045115"/>
                <a:ext cx="227655" cy="228030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1699208" y="6045432"/>
                <a:ext cx="234304" cy="224547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1078644" y="6054360"/>
                <a:ext cx="81999" cy="83434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117288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1245369" y="6055634"/>
                <a:ext cx="66819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1322240" y="6055634"/>
                <a:ext cx="67672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1405878" y="6055634"/>
                <a:ext cx="49687" cy="81050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504185" y="5402513"/>
              <a:ext cx="1929916" cy="106717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5490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462229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472038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175732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74165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add date</a:t>
            </a:r>
          </a:p>
          <a:p>
            <a:pPr lvl="1"/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10623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844031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33564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header</a:t>
            </a:r>
          </a:p>
          <a:p>
            <a:pPr lvl="1"/>
            <a:r>
              <a:rPr lang="en-US"/>
              <a:t>Tab to Time then tab to Agenda item</a:t>
            </a:r>
          </a:p>
          <a:p>
            <a:pPr lvl="2"/>
            <a:r>
              <a:rPr lang="en-US"/>
              <a:t>Speaker name and topic</a:t>
            </a:r>
          </a:p>
          <a:p>
            <a:pPr lvl="3"/>
            <a:r>
              <a:rPr lang="en-US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672237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9174677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6444222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42379530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03286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943202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279602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499848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5325013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8556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2308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/>
              <a:t>Click to add 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51488252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22483462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12063805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0807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</a:t>
            </a:r>
            <a:br>
              <a:rPr lang="en-US"/>
            </a:br>
            <a:r>
              <a:rPr lang="en-US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70323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022014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42384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/>
            </a:br>
            <a:r>
              <a:rPr lang="en-US"/>
              <a:t>IMAGE</a:t>
            </a: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4114702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482988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15.v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slideLayout" Target="../slideLayouts/slideLayout68.xml"/><Relationship Id="rId47" Type="http://schemas.openxmlformats.org/officeDocument/2006/relationships/theme" Target="../theme/theme3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slideLayout" Target="../slideLayouts/slideLayout71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slideLayout" Target="../slideLayouts/slideLayout70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slideLayout" Target="../slideLayouts/slideLayout69.xml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46.xml"/><Relationship Id="rId41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9" imgW="471" imgH="470" progId="TCLayout.ActiveDocument.1">
                  <p:embed/>
                </p:oleObj>
              </mc:Choice>
              <mc:Fallback>
                <p:oleObj name="think-cell Slide" r:id="rId19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  <p:sldLayoutId id="2147483816" r:id="rId12"/>
    <p:sldLayoutId id="2147483829" r:id="rId13"/>
    <p:sldLayoutId id="2147483830" r:id="rId14"/>
    <p:sldLayoutId id="2147483831" r:id="rId15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©2018 Aetna Inc.</a:t>
            </a: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Calibri" panose="020F0502020204030204" pitchFamily="34" charset="0"/>
                <a:cs typeface="Open Sans Light"/>
              </a:rPr>
              <a:t>Proprietary</a:t>
            </a:r>
            <a:endParaRPr lang="en-US" sz="800" err="1">
              <a:solidFill>
                <a:srgbClr val="414141"/>
              </a:solidFill>
              <a:latin typeface="Calibri" panose="020F0502020204030204" pitchFamily="34" charset="0"/>
              <a:cs typeface="Open Sans Ligh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A2CE9C0-0131-483A-9DBE-2752E5B43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47397B8-5B77-46A9-8DA9-E49C9A720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9D13BAE-2E4F-4FAA-9865-B6BCA5A90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FB69CFE-CDD1-4223-949D-4E66EF59D5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73FB561-577D-4F4B-8DB0-AE68C93D23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EE5D131-EF40-44EA-B094-A1E2C2D8E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0BB9FE14-FCE8-496B-A94A-B806F6DE8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F28FABAD-A326-41EF-AD2C-9C4A2DE74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E0206367-6918-47B2-A6AA-FEF799CEA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48BBEBD-8D92-4FD1-B273-3CC99F012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43A18813-3D98-4057-9E53-AAA5006B7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942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302835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A634C96E-44FE-4098-9BF8-F1EF68405EB8}"/>
              </a:ext>
            </a:extLst>
          </p:cNvPr>
          <p:cNvSpPr txBox="1">
            <a:spLocks/>
          </p:cNvSpPr>
          <p:nvPr/>
        </p:nvSpPr>
        <p:spPr>
          <a:xfrm>
            <a:off x="11126888" y="478712"/>
            <a:ext cx="224270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0B7CF74-7EEB-4958-A44E-A0316DD97F91}"/>
              </a:ext>
            </a:extLst>
          </p:cNvPr>
          <p:cNvSpPr txBox="1">
            <a:spLocks/>
          </p:cNvSpPr>
          <p:nvPr/>
        </p:nvSpPr>
        <p:spPr>
          <a:xfrm>
            <a:off x="10946246" y="489642"/>
            <a:ext cx="167276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A3BAE25-BC4C-48B5-A553-FD7A5F5616D2}"/>
              </a:ext>
            </a:extLst>
          </p:cNvPr>
          <p:cNvSpPr txBox="1">
            <a:spLocks/>
          </p:cNvSpPr>
          <p:nvPr/>
        </p:nvSpPr>
        <p:spPr>
          <a:xfrm>
            <a:off x="11370412" y="537309"/>
            <a:ext cx="113067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F0131A8-14D5-4423-A1B5-EFF471326C72}"/>
              </a:ext>
            </a:extLst>
          </p:cNvPr>
          <p:cNvSpPr txBox="1">
            <a:spLocks/>
          </p:cNvSpPr>
          <p:nvPr/>
        </p:nvSpPr>
        <p:spPr>
          <a:xfrm>
            <a:off x="11493320" y="537309"/>
            <a:ext cx="11609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F65F458-1445-492B-8AB4-E8D1B70479AD}"/>
              </a:ext>
            </a:extLst>
          </p:cNvPr>
          <p:cNvSpPr txBox="1">
            <a:spLocks/>
          </p:cNvSpPr>
          <p:nvPr/>
        </p:nvSpPr>
        <p:spPr>
          <a:xfrm>
            <a:off x="11294857" y="539634"/>
            <a:ext cx="64909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98B328D-F4A2-487E-B325-3F26BF3242A3}"/>
              </a:ext>
            </a:extLst>
          </p:cNvPr>
          <p:cNvSpPr txBox="1">
            <a:spLocks/>
          </p:cNvSpPr>
          <p:nvPr/>
        </p:nvSpPr>
        <p:spPr>
          <a:xfrm>
            <a:off x="11416710" y="688319"/>
            <a:ext cx="149129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B07B73D-C02D-4961-91B2-AF06C701F5BE}"/>
              </a:ext>
            </a:extLst>
          </p:cNvPr>
          <p:cNvSpPr txBox="1">
            <a:spLocks/>
          </p:cNvSpPr>
          <p:nvPr/>
        </p:nvSpPr>
        <p:spPr>
          <a:xfrm>
            <a:off x="11759099" y="688319"/>
            <a:ext cx="167276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CEF8F7C-DBFA-4EBE-9F6A-0D7EADAC9EC5}"/>
              </a:ext>
            </a:extLst>
          </p:cNvPr>
          <p:cNvSpPr txBox="1">
            <a:spLocks/>
          </p:cNvSpPr>
          <p:nvPr/>
        </p:nvSpPr>
        <p:spPr>
          <a:xfrm>
            <a:off x="11575868" y="688552"/>
            <a:ext cx="172162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7042731-0214-4B63-8876-E8873B986FE7}"/>
              </a:ext>
            </a:extLst>
          </p:cNvPr>
          <p:cNvGrpSpPr/>
          <p:nvPr/>
        </p:nvGrpSpPr>
        <p:grpSpPr>
          <a:xfrm>
            <a:off x="11119893" y="695107"/>
            <a:ext cx="276953" cy="61257"/>
            <a:chOff x="10999013" y="849614"/>
            <a:chExt cx="276809" cy="61257"/>
          </a:xfrm>
          <a:solidFill>
            <a:schemeClr val="accent2"/>
          </a:solidFill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3E6A97B-9258-4A18-8304-5932EC86E436}"/>
                </a:ext>
              </a:extLst>
            </p:cNvPr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C7C2F47-276F-46E3-A3E4-15FBE4785684}"/>
                </a:ext>
              </a:extLst>
            </p:cNvPr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E12459D-C661-4CE1-BC75-70ABD1EF3F8E}"/>
                </a:ext>
              </a:extLst>
            </p:cNvPr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3563D93-FC96-4E1A-8F4E-E1C626E3836C}"/>
                </a:ext>
              </a:extLst>
            </p:cNvPr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8AB898E-531C-48EA-AC1A-6A89ABDA758C}"/>
                </a:ext>
              </a:extLst>
            </p:cNvPr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4" name="Freeform 9">
            <a:extLst>
              <a:ext uri="{FF2B5EF4-FFF2-40B4-BE49-F238E27FC236}">
                <a16:creationId xmlns:a16="http://schemas.microsoft.com/office/drawing/2014/main" id="{11EFE963-E67A-4EA4-BAC3-5C71960B86E4}"/>
              </a:ext>
            </a:extLst>
          </p:cNvPr>
          <p:cNvSpPr>
            <a:spLocks noEditPoints="1"/>
          </p:cNvSpPr>
          <p:nvPr/>
        </p:nvSpPr>
        <p:spPr bwMode="auto">
          <a:xfrm>
            <a:off x="10697793" y="216517"/>
            <a:ext cx="1418058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78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  <p:sldLayoutId id="2147483862" r:id="rId30"/>
    <p:sldLayoutId id="2147483863" r:id="rId31"/>
    <p:sldLayoutId id="2147483864" r:id="rId32"/>
    <p:sldLayoutId id="2147483865" r:id="rId33"/>
    <p:sldLayoutId id="2147483866" r:id="rId34"/>
    <p:sldLayoutId id="2147483867" r:id="rId35"/>
    <p:sldLayoutId id="2147483868" r:id="rId36"/>
    <p:sldLayoutId id="2147483869" r:id="rId37"/>
    <p:sldLayoutId id="2147483870" r:id="rId38"/>
    <p:sldLayoutId id="2147483871" r:id="rId39"/>
    <p:sldLayoutId id="2147483872" r:id="rId40"/>
    <p:sldLayoutId id="2147483874" r:id="rId41"/>
    <p:sldLayoutId id="2147483876" r:id="rId42"/>
    <p:sldLayoutId id="2147483878" r:id="rId43"/>
    <p:sldLayoutId id="2147483879" r:id="rId44"/>
    <p:sldLayoutId id="2147483880" r:id="rId45"/>
    <p:sldLayoutId id="2147483881" r:id="rId46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458003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6" r:id="rId24"/>
    <p:sldLayoutId id="2147483907" r:id="rId25"/>
    <p:sldLayoutId id="2147483908" r:id="rId26"/>
    <p:sldLayoutId id="2147483909" r:id="rId27"/>
    <p:sldLayoutId id="2147483910" r:id="rId28"/>
    <p:sldLayoutId id="2147483911" r:id="rId29"/>
    <p:sldLayoutId id="2147483912" r:id="rId30"/>
    <p:sldLayoutId id="2147483913" r:id="rId31"/>
    <p:sldLayoutId id="2147483914" r:id="rId32"/>
    <p:sldLayoutId id="2147483915" r:id="rId33"/>
    <p:sldLayoutId id="2147483916" r:id="rId34"/>
    <p:sldLayoutId id="2147483917" r:id="rId35"/>
    <p:sldLayoutId id="2147483918" r:id="rId36"/>
    <p:sldLayoutId id="2147483919" r:id="rId37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1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2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2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6.png"/><Relationship Id="rId5" Type="http://schemas.openxmlformats.org/officeDocument/2006/relationships/image" Target="../media/image17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Layout" Target="../slideLayouts/slideLayout48.xml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.emf"/><Relationship Id="rId5" Type="http://schemas.openxmlformats.org/officeDocument/2006/relationships/diagramData" Target="../diagrams/data1.xml"/><Relationship Id="rId10" Type="http://schemas.openxmlformats.org/officeDocument/2006/relationships/oleObject" Target="../embeddings/oleObject26.bin"/><Relationship Id="rId4" Type="http://schemas.openxmlformats.org/officeDocument/2006/relationships/notesSlide" Target="../notesSlides/notesSlide6.xml"/><Relationship Id="rId9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North Star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F572F0F-C452-4B79-B808-91DB7509A1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Claudette Hickey</a:t>
            </a:r>
          </a:p>
          <a:p>
            <a:r>
              <a:rPr lang="en-US"/>
              <a:t>Architect Advisor, Systems Planning, O-CTO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FEEA7C-27B8-4ABB-9BBC-FBF6F2498B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June 2020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1649" y="894"/>
            <a:ext cx="4435590" cy="342810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8916" y="3314362"/>
            <a:ext cx="4441496" cy="529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3991" rIns="0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8916" y="3283123"/>
            <a:ext cx="4441497" cy="748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8915" y="3799199"/>
            <a:ext cx="4441497" cy="748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DC66BC-BAF6-4E51-87C2-CA56B2130642}"/>
              </a:ext>
            </a:extLst>
          </p:cNvPr>
          <p:cNvSpPr/>
          <p:nvPr/>
        </p:nvSpPr>
        <p:spPr>
          <a:xfrm>
            <a:off x="857242" y="1427725"/>
            <a:ext cx="462658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>
                <a:latin typeface="Domaine Display Bold"/>
                <a:cs typeface="Arial"/>
              </a:rPr>
              <a:t>Data Platform 2.O</a:t>
            </a:r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229078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542796"/>
          </a:xfrm>
        </p:spPr>
        <p:txBody>
          <a:bodyPr/>
          <a:lstStyle/>
          <a:p>
            <a:r>
              <a:rPr lang="en-US" sz="2000">
                <a:cs typeface="Arial" panose="020B0604020202020204" pitchFamily="34" charset="0"/>
                <a:sym typeface="Arial" panose="020B0604020202020204" pitchFamily="34" charset="0"/>
              </a:rPr>
              <a:t>Currently, CVS Health has a project approach to data funding and intak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6604988" y="1771536"/>
            <a:ext cx="0" cy="4421166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1132442" y="6090046"/>
            <a:ext cx="1951619" cy="613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9" indent="-171399" defTabSz="456621" fontAlgn="base">
              <a:lnSpc>
                <a:spcPts val="1999"/>
              </a:lnSpc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799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= positive capability</a:t>
            </a:r>
          </a:p>
          <a:p>
            <a:pPr marL="171399" indent="-171399" defTabSz="456621" fontAlgn="base">
              <a:lnSpc>
                <a:spcPts val="1999"/>
              </a:lnSpc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799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= negative capability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FAF0690-3E87-4EB0-B1AC-5380EB99E018}"/>
              </a:ext>
            </a:extLst>
          </p:cNvPr>
          <p:cNvSpPr/>
          <p:nvPr/>
        </p:nvSpPr>
        <p:spPr>
          <a:xfrm>
            <a:off x="3544574" y="1889052"/>
            <a:ext cx="1569813" cy="1575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ject Based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24FFBA9-6333-4C08-A485-0B17C2897809}"/>
              </a:ext>
            </a:extLst>
          </p:cNvPr>
          <p:cNvSpPr/>
          <p:nvPr/>
        </p:nvSpPr>
        <p:spPr>
          <a:xfrm>
            <a:off x="8048528" y="1889051"/>
            <a:ext cx="1569813" cy="1575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active and dispar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372975-E336-44FD-B506-EC149F952BC9}"/>
              </a:ext>
            </a:extLst>
          </p:cNvPr>
          <p:cNvSpPr txBox="1"/>
          <p:nvPr/>
        </p:nvSpPr>
        <p:spPr>
          <a:xfrm>
            <a:off x="423364" y="264773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r </a:t>
            </a:r>
            <a:b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rrent Sta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B7BD9A-4987-41E5-965F-C76B88178961}"/>
              </a:ext>
            </a:extLst>
          </p:cNvPr>
          <p:cNvSpPr/>
          <p:nvPr/>
        </p:nvSpPr>
        <p:spPr>
          <a:xfrm>
            <a:off x="3624174" y="1516497"/>
            <a:ext cx="13676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nding Mode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7E4CB11-EA39-4549-98ED-A2C82FD9C0E5}"/>
              </a:ext>
            </a:extLst>
          </p:cNvPr>
          <p:cNvSpPr/>
          <p:nvPr/>
        </p:nvSpPr>
        <p:spPr>
          <a:xfrm>
            <a:off x="8094275" y="1516497"/>
            <a:ext cx="14475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Availabi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B25197E-AEA6-454D-A212-1CEAC1F6A55D}"/>
              </a:ext>
            </a:extLst>
          </p:cNvPr>
          <p:cNvSpPr txBox="1"/>
          <p:nvPr/>
        </p:nvSpPr>
        <p:spPr>
          <a:xfrm>
            <a:off x="2159882" y="3566067"/>
            <a:ext cx="4138868" cy="196773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nding Model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nding for data is integrated into the business funding process.   Some funding was set aside for the foundational capabilities of the Platform. 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rst project pays for the data ingestion which drives higher costs to that busines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ilo data stores emerge to avoid the cost of putting data into the Data Platform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arge back model only covers 30-40% of costs  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DFB1BFE-45D0-4487-AB91-916CF1897C50}"/>
              </a:ext>
            </a:extLst>
          </p:cNvPr>
          <p:cNvCxnSpPr/>
          <p:nvPr/>
        </p:nvCxnSpPr>
        <p:spPr>
          <a:xfrm>
            <a:off x="6605326" y="1771148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17FAE875-9267-4A5D-B59E-07DE1EE7CF6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992" y="3510244"/>
            <a:ext cx="271204" cy="2800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72596D9-1DF9-4A18-B9C6-A179CFF51BF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258" y="3510244"/>
            <a:ext cx="271204" cy="28004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CD8CDF7-42F2-4495-9CCD-E4F27EDC6BD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258" y="4603481"/>
            <a:ext cx="271204" cy="28004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49509D6-E152-4838-8362-898E1BB55BB6}"/>
              </a:ext>
            </a:extLst>
          </p:cNvPr>
          <p:cNvSpPr txBox="1"/>
          <p:nvPr/>
        </p:nvSpPr>
        <p:spPr>
          <a:xfrm>
            <a:off x="7173547" y="3621349"/>
            <a:ext cx="4161858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active data Identification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me HCB, PBM, Retail data available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A40000"/>
              </a:buClr>
              <a:buFont typeface="Open Sans" panose="020B0606030504020204" pitchFamily="34" charset="0"/>
              <a:buChar char="-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Data continues to be proliferated and duplicated across the compan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E30718-C334-42ED-8B88-1606CDE34EB9}"/>
              </a:ext>
            </a:extLst>
          </p:cNvPr>
          <p:cNvSpPr txBox="1"/>
          <p:nvPr/>
        </p:nvSpPr>
        <p:spPr>
          <a:xfrm>
            <a:off x="7147977" y="4619402"/>
            <a:ext cx="4161858" cy="15733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plication Intake</a:t>
            </a:r>
            <a:endParaRPr lang="en-US" sz="16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unched Intake request process for projects in flight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active, with no anticipation for strategic initiative data requirements.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fferent intake processes exists for PBM, Retail, and UDF.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6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6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6606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 continued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542796"/>
          </a:xfrm>
        </p:spPr>
        <p:txBody>
          <a:bodyPr/>
          <a:lstStyle/>
          <a:p>
            <a:r>
              <a:rPr lang="en-US" sz="2000">
                <a:cs typeface="Arial"/>
              </a:rPr>
              <a:t>Limited data governance and siloed data storage limits our ability to democratize data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FBFED0E-56B2-4108-8518-B5EEDEA2C234}"/>
              </a:ext>
            </a:extLst>
          </p:cNvPr>
          <p:cNvSpPr/>
          <p:nvPr/>
        </p:nvSpPr>
        <p:spPr>
          <a:xfrm>
            <a:off x="3916546" y="1507720"/>
            <a:ext cx="1569813" cy="1575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Disjointed and Manual</a:t>
            </a:r>
            <a:endParaRPr lang="en-US" sz="1200" b="1">
              <a:solidFill>
                <a:schemeClr val="tx1">
                  <a:lumMod val="85000"/>
                  <a:lumOff val="1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7540259-6E9C-401C-B57D-4F04A0897AD0}"/>
              </a:ext>
            </a:extLst>
          </p:cNvPr>
          <p:cNvSpPr/>
          <p:nvPr/>
        </p:nvSpPr>
        <p:spPr>
          <a:xfrm>
            <a:off x="8420500" y="1507719"/>
            <a:ext cx="1569813" cy="1575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>
                <a:solidFill>
                  <a:schemeClr val="tx1">
                    <a:lumMod val="85000"/>
                    <a:lumOff val="15000"/>
                  </a:schemeClr>
                </a:solidFill>
                <a:cs typeface="Arial"/>
              </a:rPr>
              <a:t>Emerging and Separate</a:t>
            </a:r>
            <a:endParaRPr lang="en-US" sz="1200" b="1">
              <a:solidFill>
                <a:schemeClr val="tx1">
                  <a:lumMod val="85000"/>
                  <a:lumOff val="1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23B57E2-E83A-4A8F-9DCC-8F503862E1E7}"/>
              </a:ext>
            </a:extLst>
          </p:cNvPr>
          <p:cNvSpPr txBox="1"/>
          <p:nvPr/>
        </p:nvSpPr>
        <p:spPr>
          <a:xfrm>
            <a:off x="423364" y="209592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Our </a:t>
            </a:r>
            <a:br>
              <a:rPr lang="en-US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Current Stat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25B4627-2C82-4028-A5F9-69A486B8F7CF}"/>
              </a:ext>
            </a:extLst>
          </p:cNvPr>
          <p:cNvSpPr/>
          <p:nvPr/>
        </p:nvSpPr>
        <p:spPr>
          <a:xfrm>
            <a:off x="3348538" y="1135165"/>
            <a:ext cx="2662909" cy="307777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cs typeface="Arial"/>
                <a:sym typeface="Arial" panose="020B0604020202020204" pitchFamily="34" charset="0"/>
              </a:rPr>
              <a:t>Data Governance &amp; Ownership</a:t>
            </a:r>
            <a:endParaRPr lang="en-US" sz="14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31FC8A7-45A8-411D-B7B5-A596737805FC}"/>
              </a:ext>
            </a:extLst>
          </p:cNvPr>
          <p:cNvSpPr/>
          <p:nvPr/>
        </p:nvSpPr>
        <p:spPr>
          <a:xfrm>
            <a:off x="7034602" y="1135165"/>
            <a:ext cx="43107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758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cs typeface="Arial"/>
                <a:sym typeface="Arial" panose="020B0604020202020204" pitchFamily="34" charset="0"/>
              </a:rPr>
              <a:t>Data Management, Infrastructure, and Consumption</a:t>
            </a:r>
            <a:endParaRPr lang="en-US" sz="1400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4FCDDE8-D552-4A73-AAEA-1119443CDF62}"/>
              </a:ext>
            </a:extLst>
          </p:cNvPr>
          <p:cNvCxnSpPr/>
          <p:nvPr/>
        </p:nvCxnSpPr>
        <p:spPr>
          <a:xfrm>
            <a:off x="6819638" y="138981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6B2147BC-6E14-49C4-95DE-EC8C6D06A6B1}"/>
              </a:ext>
            </a:extLst>
          </p:cNvPr>
          <p:cNvSpPr/>
          <p:nvPr/>
        </p:nvSpPr>
        <p:spPr>
          <a:xfrm>
            <a:off x="5119936" y="6238858"/>
            <a:ext cx="1952127" cy="6140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456758" fontAlgn="base">
              <a:lnSpc>
                <a:spcPts val="2000"/>
              </a:lnSpc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= positive capability</a:t>
            </a:r>
          </a:p>
          <a:p>
            <a:pPr marL="171450" indent="-171450" defTabSz="456758" fontAlgn="base">
              <a:lnSpc>
                <a:spcPts val="2000"/>
              </a:lnSpc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05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= negative capability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AC8E451C-0E79-400E-AE2B-EEAADBC4C9B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632" y="2974164"/>
            <a:ext cx="271204" cy="28004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69786DD-58DA-4C0A-A8B5-D0FDAA29F17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2994" y="4111211"/>
            <a:ext cx="271204" cy="28004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9706750E-445B-497E-BEA4-BAD99C406D8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891" y="3104960"/>
            <a:ext cx="271204" cy="28004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FD72FC2E-4032-4ED1-B385-8DD714DA0AC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891" y="4018409"/>
            <a:ext cx="271204" cy="28004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14C45C52-B5E3-4313-A731-880FA1F5201E}"/>
              </a:ext>
            </a:extLst>
          </p:cNvPr>
          <p:cNvSpPr txBox="1"/>
          <p:nvPr/>
        </p:nvSpPr>
        <p:spPr>
          <a:xfrm>
            <a:off x="1559298" y="3125322"/>
            <a:ext cx="5360698" cy="10732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Stewardship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Some data governance in place using a federated model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HCB has defined policies and procedures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Limited implemented of defined police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defTabSz="456758" fontAlgn="base">
              <a:spcBef>
                <a:spcPts val="300"/>
              </a:spcBef>
              <a:buClr>
                <a:srgbClr val="00B050"/>
              </a:buClr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D3C1D0F-ED26-47DF-BB90-4A1ADB88BF9F}"/>
              </a:ext>
            </a:extLst>
          </p:cNvPr>
          <p:cNvSpPr txBox="1"/>
          <p:nvPr/>
        </p:nvSpPr>
        <p:spPr>
          <a:xfrm>
            <a:off x="7303724" y="3138944"/>
            <a:ext cx="4749712" cy="8408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Management and Operations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Separate teams manage and operate data pipeline for PBM, Retail and HCB</a:t>
            </a:r>
          </a:p>
          <a:p>
            <a:pPr marL="171450" indent="-171450" defTabSz="456758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  <a:sym typeface="Arial" panose="020B0604020202020204" pitchFamily="34" charset="0"/>
              </a:rPr>
              <a:t>Duplicate data exists across the data stores</a:t>
            </a:r>
          </a:p>
          <a:p>
            <a:pPr marL="171450" indent="-171450" defTabSz="456758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+"/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4B59D94-21D4-4507-A704-C95447616DD7}"/>
              </a:ext>
            </a:extLst>
          </p:cNvPr>
          <p:cNvSpPr txBox="1"/>
          <p:nvPr/>
        </p:nvSpPr>
        <p:spPr>
          <a:xfrm>
            <a:off x="7303724" y="4047946"/>
            <a:ext cx="4749718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Delivery/ Consumption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Robust Data Scientist environment available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Need to accelerate data delivery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is available to busines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Not always meeting Service Level Agreement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24BD378-F048-4A77-8BC9-505233822A9A}"/>
              </a:ext>
            </a:extLst>
          </p:cNvPr>
          <p:cNvSpPr txBox="1"/>
          <p:nvPr/>
        </p:nvSpPr>
        <p:spPr>
          <a:xfrm>
            <a:off x="7303723" y="5227372"/>
            <a:ext cx="4947892" cy="8408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Infrastructure &amp; Technology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Big Data and Reporting/Analytics data is available to busines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Platform upgrades are expensive without business value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Hardware procurement and setup takes almost 6 month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F61C151-1A2F-4718-852C-20091AE42A50}"/>
              </a:ext>
            </a:extLst>
          </p:cNvPr>
          <p:cNvSpPr txBox="1"/>
          <p:nvPr/>
        </p:nvSpPr>
        <p:spPr>
          <a:xfrm>
            <a:off x="1585835" y="5521635"/>
            <a:ext cx="5403620" cy="84083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Data Security &amp; Compliance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SO and Legal oversight exists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cs typeface="Arial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Need </a:t>
            </a:r>
            <a:r>
              <a:rPr lang="en-US" sz="140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HiTrust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environment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0ECA5CE-E6AE-48E2-9E96-3B6CF1C87829}"/>
              </a:ext>
            </a:extLst>
          </p:cNvPr>
          <p:cNvSpPr txBox="1"/>
          <p:nvPr/>
        </p:nvSpPr>
        <p:spPr>
          <a:xfrm>
            <a:off x="1545028" y="4213910"/>
            <a:ext cx="5403620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cs typeface="Arial" panose="020B0604020202020204" pitchFamily="34" charset="0"/>
                <a:sym typeface="Arial" panose="020B0604020202020204" pitchFamily="34" charset="0"/>
              </a:rPr>
              <a:t>Metadata Management and Data Quality</a:t>
            </a:r>
            <a:endParaRPr lang="en-US" sz="1400">
              <a:solidFill>
                <a:schemeClr val="accent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Inflight project launched to evaluate tool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00B050"/>
              </a:buClr>
              <a:buFont typeface="Open Sans" panose="020B0606030504020204" pitchFamily="34" charset="0"/>
              <a:buChar char="+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HCB has defined Data Quality requirement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Policies and procedures need to be defined and implemented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Self service data Catalog needs to be selected and implemented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91B68586-6763-471F-BEB4-8E670268EC4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7911" y="5225660"/>
            <a:ext cx="271204" cy="280045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DDED82BB-7EA1-49BB-8575-71A1E886D26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4632" y="5492147"/>
            <a:ext cx="271204" cy="28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3994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: Rounded Corners 40">
            <a:extLst>
              <a:ext uri="{FF2B5EF4-FFF2-40B4-BE49-F238E27FC236}">
                <a16:creationId xmlns:a16="http://schemas.microsoft.com/office/drawing/2014/main" id="{AB270049-707E-4701-B505-2853ACB6CEB6}"/>
              </a:ext>
            </a:extLst>
          </p:cNvPr>
          <p:cNvSpPr/>
          <p:nvPr/>
        </p:nvSpPr>
        <p:spPr>
          <a:xfrm>
            <a:off x="2929846" y="2160927"/>
            <a:ext cx="8887088" cy="315711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83D714-1B5E-49D5-998B-726FB84A2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urrent Initiati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FB8D63-5B95-4ED2-BFBF-EF17D96100F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umerous initiatives across the enterprise are moving or using data for insights</a:t>
            </a:r>
          </a:p>
        </p:txBody>
      </p:sp>
      <p:sp>
        <p:nvSpPr>
          <p:cNvPr id="60" name="Rectangle: Rounded Corners 1">
            <a:extLst>
              <a:ext uri="{FF2B5EF4-FFF2-40B4-BE49-F238E27FC236}">
                <a16:creationId xmlns:a16="http://schemas.microsoft.com/office/drawing/2014/main" id="{EE1F03E5-F712-4341-8752-61BEA6556808}"/>
              </a:ext>
            </a:extLst>
          </p:cNvPr>
          <p:cNvSpPr/>
          <p:nvPr/>
        </p:nvSpPr>
        <p:spPr>
          <a:xfrm>
            <a:off x="2929846" y="2531473"/>
            <a:ext cx="8887088" cy="1590132"/>
          </a:xfrm>
          <a:prstGeom prst="roundRect">
            <a:avLst>
              <a:gd name="adj" fmla="val 7695"/>
            </a:avLst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Rectangle: Rounded Corners 37">
            <a:extLst>
              <a:ext uri="{FF2B5EF4-FFF2-40B4-BE49-F238E27FC236}">
                <a16:creationId xmlns:a16="http://schemas.microsoft.com/office/drawing/2014/main" id="{2686C44F-F04D-42D4-B0F1-5F685812EB58}"/>
              </a:ext>
            </a:extLst>
          </p:cNvPr>
          <p:cNvSpPr/>
          <p:nvPr/>
        </p:nvSpPr>
        <p:spPr>
          <a:xfrm>
            <a:off x="2929846" y="4182841"/>
            <a:ext cx="8887088" cy="1997013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: Rounded Corners 39">
            <a:extLst>
              <a:ext uri="{FF2B5EF4-FFF2-40B4-BE49-F238E27FC236}">
                <a16:creationId xmlns:a16="http://schemas.microsoft.com/office/drawing/2014/main" id="{9461D40B-F710-4E89-88D8-3FC83881D073}"/>
              </a:ext>
            </a:extLst>
          </p:cNvPr>
          <p:cNvSpPr/>
          <p:nvPr/>
        </p:nvSpPr>
        <p:spPr>
          <a:xfrm>
            <a:off x="2929846" y="1268248"/>
            <a:ext cx="8887088" cy="844207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821D304-4E6D-42E6-BD1C-1B7A0DC6AA44}"/>
              </a:ext>
            </a:extLst>
          </p:cNvPr>
          <p:cNvSpPr txBox="1"/>
          <p:nvPr/>
        </p:nvSpPr>
        <p:spPr>
          <a:xfrm>
            <a:off x="6490039" y="1297522"/>
            <a:ext cx="1911194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gagem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E9BEE54-21D9-4728-A3C6-4EB1B3C18054}"/>
              </a:ext>
            </a:extLst>
          </p:cNvPr>
          <p:cNvSpPr txBox="1"/>
          <p:nvPr/>
        </p:nvSpPr>
        <p:spPr>
          <a:xfrm>
            <a:off x="6490039" y="2545518"/>
            <a:ext cx="1999444" cy="213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nsactional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B6EC2B5-6088-4A90-A47A-5345F49F13DE}"/>
              </a:ext>
            </a:extLst>
          </p:cNvPr>
          <p:cNvSpPr txBox="1"/>
          <p:nvPr/>
        </p:nvSpPr>
        <p:spPr>
          <a:xfrm>
            <a:off x="6360754" y="2166876"/>
            <a:ext cx="1911194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cosystem Platfor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937A6D1-C6A6-475F-8609-882580248252}"/>
              </a:ext>
            </a:extLst>
          </p:cNvPr>
          <p:cNvSpPr txBox="1"/>
          <p:nvPr/>
        </p:nvSpPr>
        <p:spPr>
          <a:xfrm>
            <a:off x="3006239" y="2165800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count for Life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7D8790C-1B3D-4FF0-A7A5-CF07C70BB2FD}"/>
              </a:ext>
            </a:extLst>
          </p:cNvPr>
          <p:cNvSpPr txBox="1"/>
          <p:nvPr/>
        </p:nvSpPr>
        <p:spPr>
          <a:xfrm>
            <a:off x="4069189" y="2166876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lobal ID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3B55E10-06AC-4477-9D1F-1DA6D65DC782}"/>
              </a:ext>
            </a:extLst>
          </p:cNvPr>
          <p:cNvSpPr txBox="1"/>
          <p:nvPr/>
        </p:nvSpPr>
        <p:spPr>
          <a:xfrm>
            <a:off x="5214972" y="2166876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xt Gen</a:t>
            </a:r>
          </a:p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thenticati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02520F1-663F-4611-8C14-399D63EA1B65}"/>
              </a:ext>
            </a:extLst>
          </p:cNvPr>
          <p:cNvSpPr txBox="1"/>
          <p:nvPr/>
        </p:nvSpPr>
        <p:spPr>
          <a:xfrm>
            <a:off x="8157168" y="2166876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ferences &amp; Consen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A75DA09-1D08-41CD-BCA2-41E37195F1B3}"/>
              </a:ext>
            </a:extLst>
          </p:cNvPr>
          <p:cNvSpPr txBox="1"/>
          <p:nvPr/>
        </p:nvSpPr>
        <p:spPr>
          <a:xfrm>
            <a:off x="9302950" y="2166876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60 Profil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41C743C-1FAD-4BB8-8711-FC6D8468E199}"/>
              </a:ext>
            </a:extLst>
          </p:cNvPr>
          <p:cNvSpPr txBox="1"/>
          <p:nvPr/>
        </p:nvSpPr>
        <p:spPr>
          <a:xfrm>
            <a:off x="10448731" y="2166876"/>
            <a:ext cx="1199667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mni-Channel Interactio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B427D21-7CE1-453C-8FE8-855960CA0F1B}"/>
              </a:ext>
            </a:extLst>
          </p:cNvPr>
          <p:cNvSpPr txBox="1"/>
          <p:nvPr/>
        </p:nvSpPr>
        <p:spPr>
          <a:xfrm>
            <a:off x="6335566" y="4173080"/>
            <a:ext cx="1911194" cy="303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rgbClr val="064E69"/>
                </a:solidFill>
                <a:latin typeface="Domaine Display Bold" panose="020A0803080505060203" pitchFamily="18" charset="0"/>
                <a:cs typeface="Open Sans Bold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igh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DCBA273-60A1-4348-AEA7-50F80B014EB2}"/>
              </a:ext>
            </a:extLst>
          </p:cNvPr>
          <p:cNvGrpSpPr/>
          <p:nvPr/>
        </p:nvGrpSpPr>
        <p:grpSpPr>
          <a:xfrm>
            <a:off x="3006240" y="2810008"/>
            <a:ext cx="2162459" cy="1302033"/>
            <a:chOff x="1717703" y="3479139"/>
            <a:chExt cx="1999965" cy="1566476"/>
          </a:xfrm>
        </p:grpSpPr>
        <p:sp>
          <p:nvSpPr>
            <p:cNvPr id="49" name="Rectangle: Rounded Corners 42">
              <a:extLst>
                <a:ext uri="{FF2B5EF4-FFF2-40B4-BE49-F238E27FC236}">
                  <a16:creationId xmlns:a16="http://schemas.microsoft.com/office/drawing/2014/main" id="{961BD9DD-E43B-4645-BF7A-6D8032F19B31}"/>
                </a:ext>
              </a:extLst>
            </p:cNvPr>
            <p:cNvSpPr/>
            <p:nvPr/>
          </p:nvSpPr>
          <p:spPr>
            <a:xfrm>
              <a:off x="1717703" y="3479139"/>
              <a:ext cx="1999965" cy="1566476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4F144C3E-DDA7-4C15-AC88-9727EAC2CC3A}"/>
                </a:ext>
              </a:extLst>
            </p:cNvPr>
            <p:cNvSpPr/>
            <p:nvPr/>
          </p:nvSpPr>
          <p:spPr>
            <a:xfrm>
              <a:off x="1782332" y="3485488"/>
              <a:ext cx="1863279" cy="2808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100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enefit Admin Model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40E15A7-19D7-47C0-81C8-F96968990123}"/>
              </a:ext>
            </a:extLst>
          </p:cNvPr>
          <p:cNvGrpSpPr/>
          <p:nvPr/>
        </p:nvGrpSpPr>
        <p:grpSpPr>
          <a:xfrm>
            <a:off x="5351369" y="2805928"/>
            <a:ext cx="1999444" cy="1292899"/>
            <a:chOff x="3935096" y="3475058"/>
            <a:chExt cx="1999965" cy="1566476"/>
          </a:xfrm>
        </p:grpSpPr>
        <p:sp>
          <p:nvSpPr>
            <p:cNvPr id="71" name="Rectangle: Rounded Corners 42">
              <a:extLst>
                <a:ext uri="{FF2B5EF4-FFF2-40B4-BE49-F238E27FC236}">
                  <a16:creationId xmlns:a16="http://schemas.microsoft.com/office/drawing/2014/main" id="{E7E54139-0E8D-47E0-8EF0-5CC6864C349D}"/>
                </a:ext>
              </a:extLst>
            </p:cNvPr>
            <p:cNvSpPr/>
            <p:nvPr/>
          </p:nvSpPr>
          <p:spPr>
            <a:xfrm>
              <a:off x="3935096" y="3475058"/>
              <a:ext cx="1999965" cy="1566476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51C62B3C-A681-4E55-BEC9-287B00AA1A8D}"/>
                </a:ext>
              </a:extLst>
            </p:cNvPr>
            <p:cNvSpPr/>
            <p:nvPr/>
          </p:nvSpPr>
          <p:spPr>
            <a:xfrm>
              <a:off x="4012116" y="3485488"/>
              <a:ext cx="1863279" cy="2808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100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ervice Model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16E555D-62D1-4CD8-A183-376E83CACCF7}"/>
              </a:ext>
            </a:extLst>
          </p:cNvPr>
          <p:cNvGrpSpPr/>
          <p:nvPr/>
        </p:nvGrpSpPr>
        <p:grpSpPr>
          <a:xfrm>
            <a:off x="7543998" y="2805924"/>
            <a:ext cx="1999444" cy="1238030"/>
            <a:chOff x="6148393" y="3475054"/>
            <a:chExt cx="1999965" cy="1566476"/>
          </a:xfrm>
        </p:grpSpPr>
        <p:sp>
          <p:nvSpPr>
            <p:cNvPr id="54" name="Rectangle: Rounded Corners 42">
              <a:extLst>
                <a:ext uri="{FF2B5EF4-FFF2-40B4-BE49-F238E27FC236}">
                  <a16:creationId xmlns:a16="http://schemas.microsoft.com/office/drawing/2014/main" id="{A90A3803-A8E4-41B9-9260-8E8B7F448643}"/>
                </a:ext>
              </a:extLst>
            </p:cNvPr>
            <p:cNvSpPr/>
            <p:nvPr/>
          </p:nvSpPr>
          <p:spPr>
            <a:xfrm>
              <a:off x="6148393" y="3475054"/>
              <a:ext cx="1999965" cy="1566476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C8A1D632-9FEE-48FE-BAAE-4B9C8FB71128}"/>
                </a:ext>
              </a:extLst>
            </p:cNvPr>
            <p:cNvSpPr/>
            <p:nvPr/>
          </p:nvSpPr>
          <p:spPr>
            <a:xfrm>
              <a:off x="6209079" y="3484024"/>
              <a:ext cx="1863279" cy="2808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100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are Model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CFE476C-35BC-454B-A942-4D064B77654B}"/>
              </a:ext>
            </a:extLst>
          </p:cNvPr>
          <p:cNvGrpSpPr/>
          <p:nvPr/>
        </p:nvGrpSpPr>
        <p:grpSpPr>
          <a:xfrm>
            <a:off x="9693419" y="2805924"/>
            <a:ext cx="1999444" cy="1230716"/>
            <a:chOff x="8288325" y="3475054"/>
            <a:chExt cx="1999965" cy="982759"/>
          </a:xfrm>
        </p:grpSpPr>
        <p:sp>
          <p:nvSpPr>
            <p:cNvPr id="55" name="Rectangle: Rounded Corners 42">
              <a:extLst>
                <a:ext uri="{FF2B5EF4-FFF2-40B4-BE49-F238E27FC236}">
                  <a16:creationId xmlns:a16="http://schemas.microsoft.com/office/drawing/2014/main" id="{0616E8E8-4299-45C6-9071-B48A96580040}"/>
                </a:ext>
              </a:extLst>
            </p:cNvPr>
            <p:cNvSpPr/>
            <p:nvPr/>
          </p:nvSpPr>
          <p:spPr>
            <a:xfrm>
              <a:off x="8288325" y="3475054"/>
              <a:ext cx="1999965" cy="982759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F941D891-E1B4-4D90-998F-AF34580D0144}"/>
                </a:ext>
              </a:extLst>
            </p:cNvPr>
            <p:cNvSpPr/>
            <p:nvPr/>
          </p:nvSpPr>
          <p:spPr>
            <a:xfrm>
              <a:off x="8356667" y="3485488"/>
              <a:ext cx="1863279" cy="2808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100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Retail Model</a:t>
              </a:r>
            </a:p>
          </p:txBody>
        </p:sp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61668D7-F6B7-454F-997E-C4C44572B015}"/>
              </a:ext>
            </a:extLst>
          </p:cNvPr>
          <p:cNvSpPr/>
          <p:nvPr/>
        </p:nvSpPr>
        <p:spPr>
          <a:xfrm>
            <a:off x="7547082" y="4950731"/>
            <a:ext cx="4132909" cy="38671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tionable Insight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32854D-823B-4EEC-85D6-A74EAABDFAB4}"/>
              </a:ext>
            </a:extLst>
          </p:cNvPr>
          <p:cNvGrpSpPr/>
          <p:nvPr/>
        </p:nvGrpSpPr>
        <p:grpSpPr>
          <a:xfrm>
            <a:off x="3184319" y="4925505"/>
            <a:ext cx="4126934" cy="1125870"/>
            <a:chOff x="1747386" y="5461951"/>
            <a:chExt cx="4128009" cy="785825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575520B8-C3F6-4B6E-A45F-E92FA6E2809E}"/>
                </a:ext>
              </a:extLst>
            </p:cNvPr>
            <p:cNvSpPr/>
            <p:nvPr/>
          </p:nvSpPr>
          <p:spPr>
            <a:xfrm>
              <a:off x="1756594" y="5468628"/>
              <a:ext cx="4118801" cy="28084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Reporting &amp; Business Performance</a:t>
              </a:r>
            </a:p>
          </p:txBody>
        </p:sp>
        <p:sp>
          <p:nvSpPr>
            <p:cNvPr id="66" name="Rectangle: Rounded Corners 44">
              <a:extLst>
                <a:ext uri="{FF2B5EF4-FFF2-40B4-BE49-F238E27FC236}">
                  <a16:creationId xmlns:a16="http://schemas.microsoft.com/office/drawing/2014/main" id="{E53ABE01-BB00-46B7-9C30-A0033B04BB5A}"/>
                </a:ext>
              </a:extLst>
            </p:cNvPr>
            <p:cNvSpPr/>
            <p:nvPr/>
          </p:nvSpPr>
          <p:spPr>
            <a:xfrm>
              <a:off x="1747386" y="5461951"/>
              <a:ext cx="4128009" cy="7858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7" name="Rectangle: Rounded Corners 45">
            <a:extLst>
              <a:ext uri="{FF2B5EF4-FFF2-40B4-BE49-F238E27FC236}">
                <a16:creationId xmlns:a16="http://schemas.microsoft.com/office/drawing/2014/main" id="{F8AC0145-648A-4355-8232-36A3038F6929}"/>
              </a:ext>
            </a:extLst>
          </p:cNvPr>
          <p:cNvSpPr/>
          <p:nvPr/>
        </p:nvSpPr>
        <p:spPr>
          <a:xfrm>
            <a:off x="7547082" y="4948646"/>
            <a:ext cx="4132909" cy="1102729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B333CE6-DF6D-4BEC-BE0A-E4AF48792F22}"/>
              </a:ext>
            </a:extLst>
          </p:cNvPr>
          <p:cNvSpPr txBox="1"/>
          <p:nvPr/>
        </p:nvSpPr>
        <p:spPr>
          <a:xfrm>
            <a:off x="570225" y="1538645"/>
            <a:ext cx="1537853" cy="32764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999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urrent</a:t>
            </a:r>
            <a:br>
              <a:rPr lang="en-US" sz="1999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999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est</a:t>
            </a:r>
          </a:p>
        </p:txBody>
      </p:sp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EAE76864-EF0C-498E-91D2-2DF9656081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964092"/>
              </p:ext>
            </p:extLst>
          </p:nvPr>
        </p:nvGraphicFramePr>
        <p:xfrm>
          <a:off x="696300" y="2182877"/>
          <a:ext cx="2115632" cy="4114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5632">
                  <a:extLst>
                    <a:ext uri="{9D8B030D-6E8A-4147-A177-3AD203B41FA5}">
                      <a16:colId xmlns:a16="http://schemas.microsoft.com/office/drawing/2014/main" val="2181855017"/>
                    </a:ext>
                  </a:extLst>
                </a:gridCol>
              </a:tblGrid>
              <a:tr h="452410">
                <a:tc>
                  <a:txBody>
                    <a:bodyPr/>
                    <a:lstStyle/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DL/PDL Migration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Finance – HCB Data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aps in Care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linical Data Strategy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harmacy Ops/ RPHAI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harmacy Advisor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xisting Retail, &amp; PBM DWH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xisting HCB DWH 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NBA for Clinical Programs</a:t>
                      </a:r>
                    </a:p>
                    <a:p>
                      <a:pPr marL="117475" indent="-117475">
                        <a:spcAft>
                          <a:spcPts val="1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BI Reporting &amp; Analytics</a:t>
                      </a:r>
                    </a:p>
                  </a:txBody>
                  <a:tcPr marL="45708" marR="45708" marT="45708" marB="45708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4380676"/>
                  </a:ext>
                </a:extLst>
              </a:tr>
            </a:tbl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A043C7D-EE89-4CF3-958C-191F9099F5C1}"/>
              </a:ext>
            </a:extLst>
          </p:cNvPr>
          <p:cNvCxnSpPr/>
          <p:nvPr/>
        </p:nvCxnSpPr>
        <p:spPr>
          <a:xfrm>
            <a:off x="213365" y="2191488"/>
            <a:ext cx="2251572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1F8E6E30-D327-4544-A124-76C813A1A745}"/>
              </a:ext>
            </a:extLst>
          </p:cNvPr>
          <p:cNvSpPr/>
          <p:nvPr/>
        </p:nvSpPr>
        <p:spPr>
          <a:xfrm>
            <a:off x="1149269" y="999336"/>
            <a:ext cx="379764" cy="3797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Freeform 4934">
            <a:extLst>
              <a:ext uri="{FF2B5EF4-FFF2-40B4-BE49-F238E27FC236}">
                <a16:creationId xmlns:a16="http://schemas.microsoft.com/office/drawing/2014/main" id="{9AA31BD9-E37E-4AFC-86A9-D9368DBDA84A}"/>
              </a:ext>
            </a:extLst>
          </p:cNvPr>
          <p:cNvSpPr>
            <a:spLocks noEditPoints="1"/>
          </p:cNvSpPr>
          <p:nvPr/>
        </p:nvSpPr>
        <p:spPr bwMode="auto">
          <a:xfrm>
            <a:off x="1232970" y="1050906"/>
            <a:ext cx="212359" cy="266467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DE6D985-ED2B-460C-83DE-09051EF8872D}"/>
              </a:ext>
            </a:extLst>
          </p:cNvPr>
          <p:cNvSpPr/>
          <p:nvPr/>
        </p:nvSpPr>
        <p:spPr>
          <a:xfrm>
            <a:off x="348795" y="2181776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5F13C57-A294-46D7-B5F1-F2B738F7104E}"/>
              </a:ext>
            </a:extLst>
          </p:cNvPr>
          <p:cNvSpPr/>
          <p:nvPr/>
        </p:nvSpPr>
        <p:spPr>
          <a:xfrm>
            <a:off x="348795" y="2599700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F8BEA1B-D41F-47B6-A2E4-1DB5EAE082FF}"/>
              </a:ext>
            </a:extLst>
          </p:cNvPr>
          <p:cNvSpPr/>
          <p:nvPr/>
        </p:nvSpPr>
        <p:spPr>
          <a:xfrm>
            <a:off x="348795" y="3017624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6175547-CB8B-4FE8-9D2E-6EDA808523B3}"/>
              </a:ext>
            </a:extLst>
          </p:cNvPr>
          <p:cNvGrpSpPr/>
          <p:nvPr/>
        </p:nvGrpSpPr>
        <p:grpSpPr>
          <a:xfrm>
            <a:off x="3968278" y="1613846"/>
            <a:ext cx="1423699" cy="123080"/>
            <a:chOff x="5411597" y="2699143"/>
            <a:chExt cx="1809591" cy="141736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FE693BD-1AE3-4A69-ADBD-A730183275BF}"/>
                </a:ext>
              </a:extLst>
            </p:cNvPr>
            <p:cNvSpPr txBox="1"/>
            <p:nvPr/>
          </p:nvSpPr>
          <p:spPr>
            <a:xfrm>
              <a:off x="5411597" y="2699143"/>
              <a:ext cx="752161" cy="1417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defRPr/>
              </a:pPr>
              <a:r>
                <a:rPr lang="en-US" sz="800" kern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  <a:sym typeface="Arial" panose="020B0604020202020204" pitchFamily="34" charset="0"/>
                </a:rPr>
                <a:t>Provider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3674D31D-EDB7-43C7-ABCF-ADF585E0CEC0}"/>
                </a:ext>
              </a:extLst>
            </p:cNvPr>
            <p:cNvSpPr txBox="1"/>
            <p:nvPr/>
          </p:nvSpPr>
          <p:spPr>
            <a:xfrm>
              <a:off x="6022951" y="2699144"/>
              <a:ext cx="623231" cy="1417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defRPr/>
              </a:pPr>
              <a:r>
                <a:rPr lang="en-US" sz="800" kern="0"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  <a:sym typeface="Arial" panose="020B0604020202020204" pitchFamily="34" charset="0"/>
                </a:rPr>
                <a:t>PDSC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F10B52A0-3AA7-490C-920D-EB26552A4B11}"/>
                </a:ext>
              </a:extLst>
            </p:cNvPr>
            <p:cNvSpPr txBox="1"/>
            <p:nvPr/>
          </p:nvSpPr>
          <p:spPr>
            <a:xfrm>
              <a:off x="6572954" y="2699144"/>
              <a:ext cx="648234" cy="1417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defRPr/>
              </a:pPr>
              <a:r>
                <a:rPr lang="en-US" sz="800" kern="0">
                  <a:solidFill>
                    <a:srgbClr val="000000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  <a:sym typeface="Arial" panose="020B0604020202020204" pitchFamily="34" charset="0"/>
                </a:rPr>
                <a:t>Member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4F63AFB-98F6-41E4-9D01-488A0295BC74}"/>
              </a:ext>
            </a:extLst>
          </p:cNvPr>
          <p:cNvGrpSpPr/>
          <p:nvPr/>
        </p:nvGrpSpPr>
        <p:grpSpPr>
          <a:xfrm>
            <a:off x="4162018" y="1330035"/>
            <a:ext cx="188760" cy="303984"/>
            <a:chOff x="3278188" y="3148013"/>
            <a:chExt cx="298450" cy="588963"/>
          </a:xfrm>
          <a:solidFill>
            <a:schemeClr val="tx2"/>
          </a:solidFill>
        </p:grpSpPr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9A8B316F-A29E-490A-BA5C-58203F6DC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3288" y="3455988"/>
              <a:ext cx="133350" cy="280988"/>
            </a:xfrm>
            <a:custGeom>
              <a:avLst/>
              <a:gdLst>
                <a:gd name="T0" fmla="*/ 0 w 24"/>
                <a:gd name="T1" fmla="*/ 51 h 51"/>
                <a:gd name="T2" fmla="*/ 24 w 24"/>
                <a:gd name="T3" fmla="*/ 51 h 51"/>
                <a:gd name="T4" fmla="*/ 24 w 24"/>
                <a:gd name="T5" fmla="*/ 22 h 51"/>
                <a:gd name="T6" fmla="*/ 13 w 24"/>
                <a:gd name="T7" fmla="*/ 0 h 51"/>
                <a:gd name="T8" fmla="*/ 0 w 24"/>
                <a:gd name="T9" fmla="*/ 13 h 51"/>
                <a:gd name="T10" fmla="*/ 0 w 24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51">
                  <a:moveTo>
                    <a:pt x="0" y="51"/>
                  </a:moveTo>
                  <a:cubicBezTo>
                    <a:pt x="24" y="51"/>
                    <a:pt x="24" y="51"/>
                    <a:pt x="24" y="5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13"/>
                    <a:pt x="19" y="5"/>
                    <a:pt x="13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5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0AD94B49-B52F-4F64-9F62-31EE79FA9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3455988"/>
              <a:ext cx="131763" cy="280988"/>
            </a:xfrm>
            <a:custGeom>
              <a:avLst/>
              <a:gdLst>
                <a:gd name="T0" fmla="*/ 24 w 24"/>
                <a:gd name="T1" fmla="*/ 13 h 51"/>
                <a:gd name="T2" fmla="*/ 11 w 24"/>
                <a:gd name="T3" fmla="*/ 0 h 51"/>
                <a:gd name="T4" fmla="*/ 0 w 24"/>
                <a:gd name="T5" fmla="*/ 22 h 51"/>
                <a:gd name="T6" fmla="*/ 0 w 24"/>
                <a:gd name="T7" fmla="*/ 51 h 51"/>
                <a:gd name="T8" fmla="*/ 24 w 24"/>
                <a:gd name="T9" fmla="*/ 51 h 51"/>
                <a:gd name="T10" fmla="*/ 24 w 24"/>
                <a:gd name="T11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51">
                  <a:moveTo>
                    <a:pt x="24" y="13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5"/>
                    <a:pt x="0" y="13"/>
                    <a:pt x="0" y="22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4" y="51"/>
                    <a:pt x="24" y="51"/>
                    <a:pt x="24" y="51"/>
                  </a:cubicBez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69542876-6286-447E-8237-8459A925C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651" y="3148013"/>
              <a:ext cx="263525" cy="88900"/>
            </a:xfrm>
            <a:custGeom>
              <a:avLst/>
              <a:gdLst>
                <a:gd name="T0" fmla="*/ 16 w 48"/>
                <a:gd name="T1" fmla="*/ 16 h 16"/>
                <a:gd name="T2" fmla="*/ 24 w 48"/>
                <a:gd name="T3" fmla="*/ 10 h 16"/>
                <a:gd name="T4" fmla="*/ 32 w 48"/>
                <a:gd name="T5" fmla="*/ 16 h 16"/>
                <a:gd name="T6" fmla="*/ 48 w 48"/>
                <a:gd name="T7" fmla="*/ 16 h 16"/>
                <a:gd name="T8" fmla="*/ 24 w 48"/>
                <a:gd name="T9" fmla="*/ 0 h 16"/>
                <a:gd name="T10" fmla="*/ 0 w 48"/>
                <a:gd name="T11" fmla="*/ 16 h 16"/>
                <a:gd name="T12" fmla="*/ 16 w 48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6">
                  <a:moveTo>
                    <a:pt x="16" y="16"/>
                  </a:moveTo>
                  <a:cubicBezTo>
                    <a:pt x="18" y="13"/>
                    <a:pt x="21" y="10"/>
                    <a:pt x="24" y="10"/>
                  </a:cubicBezTo>
                  <a:cubicBezTo>
                    <a:pt x="28" y="10"/>
                    <a:pt x="30" y="13"/>
                    <a:pt x="32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4" y="6"/>
                    <a:pt x="35" y="0"/>
                    <a:pt x="24" y="0"/>
                  </a:cubicBezTo>
                  <a:cubicBezTo>
                    <a:pt x="13" y="0"/>
                    <a:pt x="4" y="6"/>
                    <a:pt x="0" y="16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5BA68A31-6062-4592-BA64-D9AA2E0FD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3263900"/>
              <a:ext cx="298450" cy="176213"/>
            </a:xfrm>
            <a:custGeom>
              <a:avLst/>
              <a:gdLst>
                <a:gd name="T0" fmla="*/ 35 w 54"/>
                <a:gd name="T1" fmla="*/ 0 h 32"/>
                <a:gd name="T2" fmla="*/ 27 w 54"/>
                <a:gd name="T3" fmla="*/ 5 h 32"/>
                <a:gd name="T4" fmla="*/ 19 w 54"/>
                <a:gd name="T5" fmla="*/ 0 h 32"/>
                <a:gd name="T6" fmla="*/ 1 w 54"/>
                <a:gd name="T7" fmla="*/ 0 h 32"/>
                <a:gd name="T8" fmla="*/ 0 w 54"/>
                <a:gd name="T9" fmla="*/ 6 h 32"/>
                <a:gd name="T10" fmla="*/ 27 w 54"/>
                <a:gd name="T11" fmla="*/ 32 h 32"/>
                <a:gd name="T12" fmla="*/ 54 w 54"/>
                <a:gd name="T13" fmla="*/ 6 h 32"/>
                <a:gd name="T14" fmla="*/ 53 w 54"/>
                <a:gd name="T15" fmla="*/ 0 h 32"/>
                <a:gd name="T16" fmla="*/ 35 w 54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2">
                  <a:moveTo>
                    <a:pt x="35" y="0"/>
                  </a:moveTo>
                  <a:cubicBezTo>
                    <a:pt x="33" y="3"/>
                    <a:pt x="31" y="5"/>
                    <a:pt x="27" y="5"/>
                  </a:cubicBezTo>
                  <a:cubicBezTo>
                    <a:pt x="24" y="5"/>
                    <a:pt x="21" y="3"/>
                    <a:pt x="1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0" y="4"/>
                    <a:pt x="0" y="6"/>
                  </a:cubicBezTo>
                  <a:cubicBezTo>
                    <a:pt x="0" y="20"/>
                    <a:pt x="12" y="32"/>
                    <a:pt x="27" y="32"/>
                  </a:cubicBezTo>
                  <a:cubicBezTo>
                    <a:pt x="42" y="32"/>
                    <a:pt x="54" y="20"/>
                    <a:pt x="54" y="6"/>
                  </a:cubicBezTo>
                  <a:cubicBezTo>
                    <a:pt x="54" y="4"/>
                    <a:pt x="54" y="2"/>
                    <a:pt x="53" y="0"/>
                  </a:cubicBez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69655299-51E8-4D84-A1FD-A4188681A03C}"/>
              </a:ext>
            </a:extLst>
          </p:cNvPr>
          <p:cNvGrpSpPr/>
          <p:nvPr/>
        </p:nvGrpSpPr>
        <p:grpSpPr>
          <a:xfrm>
            <a:off x="4583048" y="1337992"/>
            <a:ext cx="207926" cy="284888"/>
            <a:chOff x="4713288" y="4949825"/>
            <a:chExt cx="296863" cy="577850"/>
          </a:xfrm>
          <a:solidFill>
            <a:schemeClr val="tx2"/>
          </a:solidFill>
        </p:grpSpPr>
        <p:sp>
          <p:nvSpPr>
            <p:cNvPr id="130" name="Freeform 114">
              <a:extLst>
                <a:ext uri="{FF2B5EF4-FFF2-40B4-BE49-F238E27FC236}">
                  <a16:creationId xmlns:a16="http://schemas.microsoft.com/office/drawing/2014/main" id="{517BA42F-C0D2-436B-A5AA-80CF9A3F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163" y="5032375"/>
              <a:ext cx="280988" cy="209550"/>
            </a:xfrm>
            <a:custGeom>
              <a:avLst/>
              <a:gdLst>
                <a:gd name="T0" fmla="*/ 37 w 51"/>
                <a:gd name="T1" fmla="*/ 0 h 38"/>
                <a:gd name="T2" fmla="*/ 0 w 51"/>
                <a:gd name="T3" fmla="*/ 22 h 38"/>
                <a:gd name="T4" fmla="*/ 24 w 51"/>
                <a:gd name="T5" fmla="*/ 38 h 38"/>
                <a:gd name="T6" fmla="*/ 51 w 51"/>
                <a:gd name="T7" fmla="*/ 11 h 38"/>
                <a:gd name="T8" fmla="*/ 51 w 51"/>
                <a:gd name="T9" fmla="*/ 10 h 38"/>
                <a:gd name="T10" fmla="*/ 37 w 51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38">
                  <a:moveTo>
                    <a:pt x="37" y="0"/>
                  </a:moveTo>
                  <a:cubicBezTo>
                    <a:pt x="26" y="9"/>
                    <a:pt x="14" y="17"/>
                    <a:pt x="0" y="22"/>
                  </a:cubicBezTo>
                  <a:cubicBezTo>
                    <a:pt x="4" y="31"/>
                    <a:pt x="13" y="38"/>
                    <a:pt x="24" y="38"/>
                  </a:cubicBezTo>
                  <a:cubicBezTo>
                    <a:pt x="39" y="38"/>
                    <a:pt x="51" y="26"/>
                    <a:pt x="51" y="11"/>
                  </a:cubicBezTo>
                  <a:cubicBezTo>
                    <a:pt x="51" y="11"/>
                    <a:pt x="51" y="11"/>
                    <a:pt x="51" y="10"/>
                  </a:cubicBezTo>
                  <a:cubicBezTo>
                    <a:pt x="45" y="8"/>
                    <a:pt x="41" y="4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1" name="Freeform 115">
              <a:extLst>
                <a:ext uri="{FF2B5EF4-FFF2-40B4-BE49-F238E27FC236}">
                  <a16:creationId xmlns:a16="http://schemas.microsoft.com/office/drawing/2014/main" id="{FC8714C8-5F1B-462E-BE39-A354232EF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8051" y="4949825"/>
              <a:ext cx="292100" cy="176213"/>
            </a:xfrm>
            <a:custGeom>
              <a:avLst/>
              <a:gdLst>
                <a:gd name="T0" fmla="*/ 46 w 53"/>
                <a:gd name="T1" fmla="*/ 8 h 32"/>
                <a:gd name="T2" fmla="*/ 44 w 53"/>
                <a:gd name="T3" fmla="*/ 6 h 32"/>
                <a:gd name="T4" fmla="*/ 30 w 53"/>
                <a:gd name="T5" fmla="*/ 0 h 32"/>
                <a:gd name="T6" fmla="*/ 28 w 53"/>
                <a:gd name="T7" fmla="*/ 0 h 32"/>
                <a:gd name="T8" fmla="*/ 26 w 53"/>
                <a:gd name="T9" fmla="*/ 0 h 32"/>
                <a:gd name="T10" fmla="*/ 0 w 53"/>
                <a:gd name="T11" fmla="*/ 26 h 32"/>
                <a:gd name="T12" fmla="*/ 0 w 53"/>
                <a:gd name="T13" fmla="*/ 32 h 32"/>
                <a:gd name="T14" fmla="*/ 38 w 53"/>
                <a:gd name="T15" fmla="*/ 10 h 32"/>
                <a:gd name="T16" fmla="*/ 53 w 53"/>
                <a:gd name="T17" fmla="*/ 22 h 32"/>
                <a:gd name="T18" fmla="*/ 46 w 53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32">
                  <a:moveTo>
                    <a:pt x="46" y="8"/>
                  </a:moveTo>
                  <a:cubicBezTo>
                    <a:pt x="45" y="7"/>
                    <a:pt x="44" y="6"/>
                    <a:pt x="44" y="6"/>
                  </a:cubicBezTo>
                  <a:cubicBezTo>
                    <a:pt x="40" y="3"/>
                    <a:pt x="35" y="1"/>
                    <a:pt x="30" y="0"/>
                  </a:cubicBezTo>
                  <a:cubicBezTo>
                    <a:pt x="29" y="0"/>
                    <a:pt x="28" y="0"/>
                    <a:pt x="28" y="0"/>
                  </a:cubicBezTo>
                  <a:cubicBezTo>
                    <a:pt x="27" y="0"/>
                    <a:pt x="27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8"/>
                    <a:pt x="0" y="30"/>
                    <a:pt x="0" y="32"/>
                  </a:cubicBezTo>
                  <a:cubicBezTo>
                    <a:pt x="22" y="26"/>
                    <a:pt x="37" y="11"/>
                    <a:pt x="38" y="10"/>
                  </a:cubicBezTo>
                  <a:cubicBezTo>
                    <a:pt x="39" y="11"/>
                    <a:pt x="48" y="21"/>
                    <a:pt x="53" y="22"/>
                  </a:cubicBezTo>
                  <a:cubicBezTo>
                    <a:pt x="52" y="17"/>
                    <a:pt x="49" y="12"/>
                    <a:pt x="46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2" name="Freeform 116">
              <a:extLst>
                <a:ext uri="{FF2B5EF4-FFF2-40B4-BE49-F238E27FC236}">
                  <a16:creationId xmlns:a16="http://schemas.microsoft.com/office/drawing/2014/main" id="{28377B2D-A68D-45FB-B721-61E50CB93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288" y="5251450"/>
              <a:ext cx="292100" cy="276225"/>
            </a:xfrm>
            <a:custGeom>
              <a:avLst/>
              <a:gdLst>
                <a:gd name="T0" fmla="*/ 53 w 53"/>
                <a:gd name="T1" fmla="*/ 21 h 50"/>
                <a:gd name="T2" fmla="*/ 42 w 53"/>
                <a:gd name="T3" fmla="*/ 0 h 50"/>
                <a:gd name="T4" fmla="*/ 42 w 53"/>
                <a:gd name="T5" fmla="*/ 0 h 50"/>
                <a:gd name="T6" fmla="*/ 11 w 53"/>
                <a:gd name="T7" fmla="*/ 0 h 50"/>
                <a:gd name="T8" fmla="*/ 11 w 53"/>
                <a:gd name="T9" fmla="*/ 0 h 50"/>
                <a:gd name="T10" fmla="*/ 0 w 53"/>
                <a:gd name="T11" fmla="*/ 22 h 50"/>
                <a:gd name="T12" fmla="*/ 0 w 53"/>
                <a:gd name="T13" fmla="*/ 50 h 50"/>
                <a:gd name="T14" fmla="*/ 53 w 53"/>
                <a:gd name="T15" fmla="*/ 50 h 50"/>
                <a:gd name="T16" fmla="*/ 53 w 53"/>
                <a:gd name="T17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0">
                  <a:moveTo>
                    <a:pt x="53" y="21"/>
                  </a:moveTo>
                  <a:cubicBezTo>
                    <a:pt x="53" y="12"/>
                    <a:pt x="49" y="5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3" y="7"/>
                    <a:pt x="20" y="7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4" y="5"/>
                    <a:pt x="0" y="13"/>
                    <a:pt x="0" y="2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53" y="50"/>
                    <a:pt x="53" y="50"/>
                    <a:pt x="53" y="50"/>
                  </a:cubicBezTo>
                  <a:lnTo>
                    <a:pt x="53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A185675-3460-475C-A0A1-60805391C0EA}"/>
              </a:ext>
            </a:extLst>
          </p:cNvPr>
          <p:cNvGrpSpPr/>
          <p:nvPr/>
        </p:nvGrpSpPr>
        <p:grpSpPr>
          <a:xfrm>
            <a:off x="5004737" y="1348892"/>
            <a:ext cx="138564" cy="284888"/>
            <a:chOff x="2616199" y="1644650"/>
            <a:chExt cx="182563" cy="633413"/>
          </a:xfrm>
          <a:solidFill>
            <a:schemeClr val="tx2"/>
          </a:solidFill>
        </p:grpSpPr>
        <p:sp>
          <p:nvSpPr>
            <p:cNvPr id="134" name="Oval 7">
              <a:extLst>
                <a:ext uri="{FF2B5EF4-FFF2-40B4-BE49-F238E27FC236}">
                  <a16:creationId xmlns:a16="http://schemas.microsoft.com/office/drawing/2014/main" id="{EAB75D9C-1FD4-449E-B5FE-15BB63DC76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199" y="1644650"/>
              <a:ext cx="182563" cy="18256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E4406BD9-3C77-44F5-8EF5-74600FFC2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199" y="1843088"/>
              <a:ext cx="182563" cy="434975"/>
            </a:xfrm>
            <a:custGeom>
              <a:avLst/>
              <a:gdLst>
                <a:gd name="T0" fmla="*/ 33 w 33"/>
                <a:gd name="T1" fmla="*/ 13 h 79"/>
                <a:gd name="T2" fmla="*/ 33 w 33"/>
                <a:gd name="T3" fmla="*/ 13 h 79"/>
                <a:gd name="T4" fmla="*/ 26 w 33"/>
                <a:gd name="T5" fmla="*/ 0 h 79"/>
                <a:gd name="T6" fmla="*/ 17 w 33"/>
                <a:gd name="T7" fmla="*/ 2 h 79"/>
                <a:gd name="T8" fmla="*/ 7 w 33"/>
                <a:gd name="T9" fmla="*/ 0 h 79"/>
                <a:gd name="T10" fmla="*/ 0 w 33"/>
                <a:gd name="T11" fmla="*/ 13 h 79"/>
                <a:gd name="T12" fmla="*/ 0 w 33"/>
                <a:gd name="T13" fmla="*/ 13 h 79"/>
                <a:gd name="T14" fmla="*/ 0 w 33"/>
                <a:gd name="T15" fmla="*/ 44 h 79"/>
                <a:gd name="T16" fmla="*/ 8 w 33"/>
                <a:gd name="T17" fmla="*/ 44 h 79"/>
                <a:gd name="T18" fmla="*/ 8 w 33"/>
                <a:gd name="T19" fmla="*/ 71 h 79"/>
                <a:gd name="T20" fmla="*/ 8 w 33"/>
                <a:gd name="T21" fmla="*/ 71 h 79"/>
                <a:gd name="T22" fmla="*/ 17 w 33"/>
                <a:gd name="T23" fmla="*/ 79 h 79"/>
                <a:gd name="T24" fmla="*/ 25 w 33"/>
                <a:gd name="T25" fmla="*/ 71 h 79"/>
                <a:gd name="T26" fmla="*/ 25 w 33"/>
                <a:gd name="T27" fmla="*/ 71 h 79"/>
                <a:gd name="T28" fmla="*/ 25 w 33"/>
                <a:gd name="T29" fmla="*/ 44 h 79"/>
                <a:gd name="T30" fmla="*/ 33 w 33"/>
                <a:gd name="T31" fmla="*/ 44 h 79"/>
                <a:gd name="T32" fmla="*/ 33 w 33"/>
                <a:gd name="T33" fmla="*/ 1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79">
                  <a:moveTo>
                    <a:pt x="33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8"/>
                    <a:pt x="30" y="3"/>
                    <a:pt x="26" y="0"/>
                  </a:cubicBezTo>
                  <a:cubicBezTo>
                    <a:pt x="23" y="2"/>
                    <a:pt x="20" y="2"/>
                    <a:pt x="17" y="2"/>
                  </a:cubicBezTo>
                  <a:cubicBezTo>
                    <a:pt x="13" y="2"/>
                    <a:pt x="10" y="2"/>
                    <a:pt x="7" y="0"/>
                  </a:cubicBezTo>
                  <a:cubicBezTo>
                    <a:pt x="3" y="3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5"/>
                    <a:pt x="12" y="79"/>
                    <a:pt x="17" y="79"/>
                  </a:cubicBezTo>
                  <a:cubicBezTo>
                    <a:pt x="21" y="79"/>
                    <a:pt x="25" y="75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33" y="44"/>
                    <a:pt x="33" y="44"/>
                    <a:pt x="33" y="44"/>
                  </a:cubicBezTo>
                  <a:lnTo>
                    <a:pt x="33" y="1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E4F1491-7627-4E57-8E43-0968E18B4AE2}"/>
              </a:ext>
            </a:extLst>
          </p:cNvPr>
          <p:cNvGrpSpPr/>
          <p:nvPr/>
        </p:nvGrpSpPr>
        <p:grpSpPr>
          <a:xfrm>
            <a:off x="8092582" y="6239382"/>
            <a:ext cx="2128009" cy="473965"/>
            <a:chOff x="6690024" y="6306262"/>
            <a:chExt cx="2128563" cy="474088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7A4A8779-38A3-470F-9CD2-D5D23CB02224}"/>
                </a:ext>
              </a:extLst>
            </p:cNvPr>
            <p:cNvSpPr/>
            <p:nvPr/>
          </p:nvSpPr>
          <p:spPr>
            <a:xfrm>
              <a:off x="6746615" y="6317537"/>
              <a:ext cx="313937" cy="31393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</a:t>
              </a: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589FEB38-A53F-4030-91A8-83875C805285}"/>
                </a:ext>
              </a:extLst>
            </p:cNvPr>
            <p:cNvSpPr/>
            <p:nvPr/>
          </p:nvSpPr>
          <p:spPr>
            <a:xfrm>
              <a:off x="7475709" y="6306262"/>
              <a:ext cx="313937" cy="313937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</a:t>
              </a: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1B6A4632-15D7-413D-8C37-3AAA12143F13}"/>
                </a:ext>
              </a:extLst>
            </p:cNvPr>
            <p:cNvSpPr/>
            <p:nvPr/>
          </p:nvSpPr>
          <p:spPr>
            <a:xfrm>
              <a:off x="8240097" y="6307970"/>
              <a:ext cx="313937" cy="31393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F39BA48-268B-49A4-A619-8542583C7DAF}"/>
                </a:ext>
              </a:extLst>
            </p:cNvPr>
            <p:cNvSpPr txBox="1"/>
            <p:nvPr/>
          </p:nvSpPr>
          <p:spPr>
            <a:xfrm>
              <a:off x="6690024" y="6631472"/>
              <a:ext cx="610988" cy="1488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456621" fontAlgn="base">
                <a:spcBef>
                  <a:spcPts val="1200"/>
                </a:spcBef>
              </a:pPr>
              <a:r>
                <a:rPr lang="en-US" sz="700">
                  <a:solidFill>
                    <a:schemeClr val="tx2"/>
                  </a:solidFill>
                  <a:cs typeface="Open Sans Light"/>
                </a:rPr>
                <a:t>In Production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8F21D91-9A84-4C8E-BEE8-10EF092D81D3}"/>
                </a:ext>
              </a:extLst>
            </p:cNvPr>
            <p:cNvSpPr txBox="1"/>
            <p:nvPr/>
          </p:nvSpPr>
          <p:spPr>
            <a:xfrm>
              <a:off x="7369325" y="6620199"/>
              <a:ext cx="686208" cy="1389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456621" fontAlgn="base">
                <a:spcBef>
                  <a:spcPts val="1200"/>
                </a:spcBef>
              </a:pPr>
              <a:r>
                <a:rPr lang="en-US" sz="700">
                  <a:solidFill>
                    <a:schemeClr val="tx2"/>
                  </a:solidFill>
                  <a:cs typeface="Open Sans Light"/>
                </a:rPr>
                <a:t>In Development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9791EEF-0B67-4937-ACA1-DA0C2C329052}"/>
                </a:ext>
              </a:extLst>
            </p:cNvPr>
            <p:cNvSpPr txBox="1"/>
            <p:nvPr/>
          </p:nvSpPr>
          <p:spPr>
            <a:xfrm>
              <a:off x="8132379" y="6620199"/>
              <a:ext cx="686208" cy="1479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456621" fontAlgn="base">
                <a:spcBef>
                  <a:spcPts val="1200"/>
                </a:spcBef>
              </a:pPr>
              <a:r>
                <a:rPr lang="en-US" sz="700">
                  <a:solidFill>
                    <a:schemeClr val="tx2"/>
                  </a:solidFill>
                  <a:cs typeface="Open Sans Light"/>
                </a:rPr>
                <a:t>In Discussion</a:t>
              </a: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A61DE5F0-B0AB-46B4-A6BB-C8EF706B6167}"/>
              </a:ext>
            </a:extLst>
          </p:cNvPr>
          <p:cNvSpPr/>
          <p:nvPr/>
        </p:nvSpPr>
        <p:spPr>
          <a:xfrm>
            <a:off x="3098237" y="3073612"/>
            <a:ext cx="773078" cy="1002216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nance  (HCB) </a:t>
            </a:r>
            <a:r>
              <a:rPr lang="en-US" sz="10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*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1E58809-FA87-4B04-9CD7-C4E210EC3BD3}"/>
              </a:ext>
            </a:extLst>
          </p:cNvPr>
          <p:cNvSpPr/>
          <p:nvPr/>
        </p:nvSpPr>
        <p:spPr>
          <a:xfrm>
            <a:off x="3922116" y="3046274"/>
            <a:ext cx="741965" cy="312205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</a:t>
            </a:r>
            <a:endParaRPr lang="en-US" sz="1000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3CB335B-32A0-426A-9E9F-E356C19D4474}"/>
              </a:ext>
            </a:extLst>
          </p:cNvPr>
          <p:cNvSpPr/>
          <p:nvPr/>
        </p:nvSpPr>
        <p:spPr>
          <a:xfrm>
            <a:off x="3921544" y="3796671"/>
            <a:ext cx="815373" cy="27915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aims</a:t>
            </a:r>
            <a:endParaRPr lang="en-US" sz="1000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4AE7718-D0DE-4328-80BD-57E90F9B2B19}"/>
              </a:ext>
            </a:extLst>
          </p:cNvPr>
          <p:cNvSpPr/>
          <p:nvPr/>
        </p:nvSpPr>
        <p:spPr>
          <a:xfrm>
            <a:off x="3922117" y="3431861"/>
            <a:ext cx="815373" cy="29048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venue </a:t>
            </a:r>
            <a:endParaRPr lang="en-US" sz="1000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A32C0A7-B3E8-4B2E-93A6-321F8F93F8F1}"/>
              </a:ext>
            </a:extLst>
          </p:cNvPr>
          <p:cNvSpPr/>
          <p:nvPr/>
        </p:nvSpPr>
        <p:spPr>
          <a:xfrm>
            <a:off x="7956985" y="3076110"/>
            <a:ext cx="1413860" cy="279039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y Advisor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17824CA-FCC2-495C-84BC-F72922734846}"/>
              </a:ext>
            </a:extLst>
          </p:cNvPr>
          <p:cNvSpPr/>
          <p:nvPr/>
        </p:nvSpPr>
        <p:spPr>
          <a:xfrm>
            <a:off x="7905019" y="3417750"/>
            <a:ext cx="1437016" cy="27602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aps in Car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6281DA8-560D-48D2-88DE-2BB01703BE9D}"/>
              </a:ext>
            </a:extLst>
          </p:cNvPr>
          <p:cNvSpPr/>
          <p:nvPr/>
        </p:nvSpPr>
        <p:spPr>
          <a:xfrm>
            <a:off x="7892368" y="3728145"/>
            <a:ext cx="1437016" cy="27602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nical Data Strategy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1401244-71AD-45DC-BB15-E51ADECA7ACB}"/>
              </a:ext>
            </a:extLst>
          </p:cNvPr>
          <p:cNvSpPr/>
          <p:nvPr/>
        </p:nvSpPr>
        <p:spPr>
          <a:xfrm>
            <a:off x="9812964" y="3314258"/>
            <a:ext cx="1413860" cy="372032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armacy Ops/ RPHAI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F010519A-86EF-4C56-8626-F7D9FAAA3E46}"/>
              </a:ext>
            </a:extLst>
          </p:cNvPr>
          <p:cNvSpPr/>
          <p:nvPr/>
        </p:nvSpPr>
        <p:spPr>
          <a:xfrm>
            <a:off x="7772132" y="3690979"/>
            <a:ext cx="320040" cy="32004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10A0B455-6E44-4D7D-A361-DC209C12F192}"/>
              </a:ext>
            </a:extLst>
          </p:cNvPr>
          <p:cNvSpPr/>
          <p:nvPr/>
        </p:nvSpPr>
        <p:spPr>
          <a:xfrm>
            <a:off x="7772132" y="2998899"/>
            <a:ext cx="320040" cy="3200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AA5524E-22A1-4A8F-914C-6642B8921B28}"/>
              </a:ext>
            </a:extLst>
          </p:cNvPr>
          <p:cNvSpPr/>
          <p:nvPr/>
        </p:nvSpPr>
        <p:spPr>
          <a:xfrm>
            <a:off x="9710737" y="3082407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21808C8D-A111-4BFF-B26F-FA557BB0246A}"/>
              </a:ext>
            </a:extLst>
          </p:cNvPr>
          <p:cNvSpPr/>
          <p:nvPr/>
        </p:nvSpPr>
        <p:spPr>
          <a:xfrm>
            <a:off x="3040008" y="3042087"/>
            <a:ext cx="320040" cy="3200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3EE035F-03D8-4CEB-957F-DC199826D31A}"/>
              </a:ext>
            </a:extLst>
          </p:cNvPr>
          <p:cNvSpPr/>
          <p:nvPr/>
        </p:nvSpPr>
        <p:spPr>
          <a:xfrm>
            <a:off x="6423433" y="4485900"/>
            <a:ext cx="1748082" cy="26022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DL/PDL Data Lake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DAEB725-E100-44C4-9731-6168EA6CFC00}"/>
              </a:ext>
            </a:extLst>
          </p:cNvPr>
          <p:cNvSpPr/>
          <p:nvPr/>
        </p:nvSpPr>
        <p:spPr>
          <a:xfrm>
            <a:off x="6448537" y="5629887"/>
            <a:ext cx="2002060" cy="38103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fied Data Fabric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C65216E9-2573-4106-BEA0-F770F85E6E04}"/>
              </a:ext>
            </a:extLst>
          </p:cNvPr>
          <p:cNvSpPr/>
          <p:nvPr/>
        </p:nvSpPr>
        <p:spPr>
          <a:xfrm>
            <a:off x="7249936" y="4690061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BE90199A-7754-4CB0-919D-9D4301C387EE}"/>
              </a:ext>
            </a:extLst>
          </p:cNvPr>
          <p:cNvSpPr/>
          <p:nvPr/>
        </p:nvSpPr>
        <p:spPr>
          <a:xfrm>
            <a:off x="10018535" y="4314752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7E6D5F3A-AFD4-4F46-829D-6A954C10BB94}"/>
              </a:ext>
            </a:extLst>
          </p:cNvPr>
          <p:cNvSpPr/>
          <p:nvPr/>
        </p:nvSpPr>
        <p:spPr>
          <a:xfrm>
            <a:off x="10082577" y="5401496"/>
            <a:ext cx="320040" cy="3200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04EEC07-1BAB-438E-B0E9-2A4AF4A913D9}"/>
              </a:ext>
            </a:extLst>
          </p:cNvPr>
          <p:cNvSpPr/>
          <p:nvPr/>
        </p:nvSpPr>
        <p:spPr>
          <a:xfrm>
            <a:off x="10338575" y="4485900"/>
            <a:ext cx="965200" cy="273107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tail DWH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D899B28-8180-431F-99B5-57F9C034748F}"/>
              </a:ext>
            </a:extLst>
          </p:cNvPr>
          <p:cNvSpPr/>
          <p:nvPr/>
        </p:nvSpPr>
        <p:spPr>
          <a:xfrm>
            <a:off x="8756404" y="4485900"/>
            <a:ext cx="965200" cy="273107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 DWH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9EC945F5-9D1F-4497-BC11-C59BC689361F}"/>
              </a:ext>
            </a:extLst>
          </p:cNvPr>
          <p:cNvSpPr/>
          <p:nvPr/>
        </p:nvSpPr>
        <p:spPr>
          <a:xfrm>
            <a:off x="10382358" y="5412333"/>
            <a:ext cx="840903" cy="381034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BA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4B0CE7F-AB2B-4919-90AC-5BFDF51AE91E}"/>
              </a:ext>
            </a:extLst>
          </p:cNvPr>
          <p:cNvSpPr/>
          <p:nvPr/>
        </p:nvSpPr>
        <p:spPr>
          <a:xfrm>
            <a:off x="4449909" y="5419229"/>
            <a:ext cx="840903" cy="595777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 Reporting &amp; Analytics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C40825C4-D3C6-4744-A8C9-E5192727C208}"/>
              </a:ext>
            </a:extLst>
          </p:cNvPr>
          <p:cNvSpPr/>
          <p:nvPr/>
        </p:nvSpPr>
        <p:spPr>
          <a:xfrm>
            <a:off x="7497318" y="5406047"/>
            <a:ext cx="320040" cy="32004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16F11C0B-D551-4259-B87C-8E5D32D467DB}"/>
              </a:ext>
            </a:extLst>
          </p:cNvPr>
          <p:cNvSpPr/>
          <p:nvPr/>
        </p:nvSpPr>
        <p:spPr>
          <a:xfrm>
            <a:off x="6883367" y="5412638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D1CE73DE-C6C9-4B2D-A497-2A63B01C1073}"/>
              </a:ext>
            </a:extLst>
          </p:cNvPr>
          <p:cNvSpPr/>
          <p:nvPr/>
        </p:nvSpPr>
        <p:spPr>
          <a:xfrm>
            <a:off x="3463354" y="5381546"/>
            <a:ext cx="840903" cy="60366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tail Reporting &amp; Analytics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5866784D-11C8-45C0-9ACE-8DC91DE248F9}"/>
              </a:ext>
            </a:extLst>
          </p:cNvPr>
          <p:cNvSpPr/>
          <p:nvPr/>
        </p:nvSpPr>
        <p:spPr>
          <a:xfrm>
            <a:off x="3982773" y="4485900"/>
            <a:ext cx="965200" cy="273107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CB  DWH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C2A68281-99BC-44C9-A555-21F0B3ABF339}"/>
              </a:ext>
            </a:extLst>
          </p:cNvPr>
          <p:cNvSpPr/>
          <p:nvPr/>
        </p:nvSpPr>
        <p:spPr>
          <a:xfrm>
            <a:off x="3822753" y="4351763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31619335-15BB-4383-8FCF-F76D190A1500}"/>
              </a:ext>
            </a:extLst>
          </p:cNvPr>
          <p:cNvSpPr/>
          <p:nvPr/>
        </p:nvSpPr>
        <p:spPr>
          <a:xfrm>
            <a:off x="5366551" y="5370473"/>
            <a:ext cx="986214" cy="677915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CB Reporting &amp; Analytics</a:t>
            </a:r>
            <a:endParaRPr lang="en-US" sz="10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DF9CC893-5F19-4EBD-80F5-7C3378795E52}"/>
              </a:ext>
            </a:extLst>
          </p:cNvPr>
          <p:cNvSpPr/>
          <p:nvPr/>
        </p:nvSpPr>
        <p:spPr>
          <a:xfrm>
            <a:off x="3369686" y="5284559"/>
            <a:ext cx="320040" cy="320040"/>
          </a:xfrm>
          <a:prstGeom prst="ellipse">
            <a:avLst/>
          </a:prstGeom>
          <a:solidFill>
            <a:schemeClr val="tx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CDB53FB6-041F-47D1-8E77-706AA93B7FF3}"/>
              </a:ext>
            </a:extLst>
          </p:cNvPr>
          <p:cNvSpPr/>
          <p:nvPr/>
        </p:nvSpPr>
        <p:spPr>
          <a:xfrm>
            <a:off x="351295" y="3435548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51216DD4-20DF-4CC3-ADC8-F691130A77D0}"/>
              </a:ext>
            </a:extLst>
          </p:cNvPr>
          <p:cNvSpPr/>
          <p:nvPr/>
        </p:nvSpPr>
        <p:spPr>
          <a:xfrm>
            <a:off x="351295" y="3853472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CBFAF6E8-3A11-4171-9B85-AA7B0C3D8529}"/>
              </a:ext>
            </a:extLst>
          </p:cNvPr>
          <p:cNvSpPr/>
          <p:nvPr/>
        </p:nvSpPr>
        <p:spPr>
          <a:xfrm>
            <a:off x="351295" y="4271396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C7BE229-962E-43FA-8AC1-66F7F705D686}"/>
              </a:ext>
            </a:extLst>
          </p:cNvPr>
          <p:cNvSpPr/>
          <p:nvPr/>
        </p:nvSpPr>
        <p:spPr>
          <a:xfrm>
            <a:off x="323814" y="4689320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</a:t>
            </a: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2A05C3A-718A-4695-81CF-2FAD21E584FC}"/>
              </a:ext>
            </a:extLst>
          </p:cNvPr>
          <p:cNvSpPr/>
          <p:nvPr/>
        </p:nvSpPr>
        <p:spPr>
          <a:xfrm>
            <a:off x="323814" y="5107244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99A16543-EC12-4FAB-BEBC-259550C10083}"/>
              </a:ext>
            </a:extLst>
          </p:cNvPr>
          <p:cNvSpPr/>
          <p:nvPr/>
        </p:nvSpPr>
        <p:spPr>
          <a:xfrm>
            <a:off x="323814" y="5525168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9</a:t>
            </a: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4F2336BA-4F32-4969-B4A4-9472187850E2}"/>
              </a:ext>
            </a:extLst>
          </p:cNvPr>
          <p:cNvSpPr/>
          <p:nvPr/>
        </p:nvSpPr>
        <p:spPr>
          <a:xfrm>
            <a:off x="311324" y="5943092"/>
            <a:ext cx="313855" cy="31385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09FE0E61-10C9-48A4-A73B-68170D307674}"/>
              </a:ext>
            </a:extLst>
          </p:cNvPr>
          <p:cNvSpPr/>
          <p:nvPr/>
        </p:nvSpPr>
        <p:spPr>
          <a:xfrm>
            <a:off x="7772132" y="3374482"/>
            <a:ext cx="320040" cy="32004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122392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z="2000">
                <a:latin typeface="Arial"/>
                <a:cs typeface="Arial"/>
                <a:sym typeface="Arial" panose="020B0604020202020204" pitchFamily="34" charset="0"/>
              </a:rPr>
              <a:t>Currently, CVS Health has three different Data and Analytics system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80968" y="1281144"/>
            <a:ext cx="11830063" cy="5358847"/>
            <a:chOff x="767725" y="2311887"/>
            <a:chExt cx="2015651" cy="386584"/>
          </a:xfrm>
        </p:grpSpPr>
        <p:sp>
          <p:nvSpPr>
            <p:cNvPr id="6" name="Rectangle 5"/>
            <p:cNvSpPr/>
            <p:nvPr/>
          </p:nvSpPr>
          <p:spPr>
            <a:xfrm>
              <a:off x="767725" y="2311887"/>
              <a:ext cx="2015651" cy="38197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846151" y="2691228"/>
              <a:ext cx="1890733" cy="72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2651405-B10B-4201-830C-445390117897}"/>
              </a:ext>
            </a:extLst>
          </p:cNvPr>
          <p:cNvSpPr/>
          <p:nvPr/>
        </p:nvSpPr>
        <p:spPr>
          <a:xfrm>
            <a:off x="5974813" y="2627048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A1A65F7C-68C8-404B-9DC5-B98C2583DF26}"/>
              </a:ext>
            </a:extLst>
          </p:cNvPr>
          <p:cNvCxnSpPr/>
          <p:nvPr/>
        </p:nvCxnSpPr>
        <p:spPr>
          <a:xfrm flipH="1">
            <a:off x="688351" y="1139748"/>
            <a:ext cx="10815297" cy="0"/>
          </a:xfrm>
          <a:prstGeom prst="line">
            <a:avLst/>
          </a:prstGeom>
          <a:ln w="1905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38FBAC6F-2069-4487-8D40-7B4FEE4784DF}"/>
              </a:ext>
            </a:extLst>
          </p:cNvPr>
          <p:cNvSpPr/>
          <p:nvPr/>
        </p:nvSpPr>
        <p:spPr>
          <a:xfrm>
            <a:off x="180966" y="1602643"/>
            <a:ext cx="1159091" cy="197466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050" b="1">
                <a:latin typeface="Arial" panose="020B0604020202020204" pitchFamily="34" charset="0"/>
                <a:cs typeface="Arial" panose="020B0604020202020204" pitchFamily="34" charset="0"/>
              </a:rPr>
              <a:t>Aetna Source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0E016A99-DB81-467F-93B4-29ED9E4D38C3}"/>
              </a:ext>
            </a:extLst>
          </p:cNvPr>
          <p:cNvSpPr/>
          <p:nvPr/>
        </p:nvSpPr>
        <p:spPr>
          <a:xfrm>
            <a:off x="221889" y="1966193"/>
            <a:ext cx="1061922" cy="579886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Transactional Systems of Record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0FCF3A0-AA43-4966-8D94-A561539E55B7}"/>
              </a:ext>
            </a:extLst>
          </p:cNvPr>
          <p:cNvSpPr/>
          <p:nvPr/>
        </p:nvSpPr>
        <p:spPr>
          <a:xfrm>
            <a:off x="221889" y="2602638"/>
            <a:ext cx="1061922" cy="419535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Care Management</a:t>
            </a:r>
          </a:p>
        </p:txBody>
      </p:sp>
      <p:sp>
        <p:nvSpPr>
          <p:cNvPr id="132" name="Rectangle: Rounded Corners 131">
            <a:extLst>
              <a:ext uri="{FF2B5EF4-FFF2-40B4-BE49-F238E27FC236}">
                <a16:creationId xmlns:a16="http://schemas.microsoft.com/office/drawing/2014/main" id="{F729885A-E1B5-4D37-84ED-C45C4F6813A5}"/>
              </a:ext>
            </a:extLst>
          </p:cNvPr>
          <p:cNvSpPr/>
          <p:nvPr/>
        </p:nvSpPr>
        <p:spPr>
          <a:xfrm>
            <a:off x="2076895" y="1592406"/>
            <a:ext cx="1159091" cy="1028881"/>
          </a:xfrm>
          <a:prstGeom prst="roundRect">
            <a:avLst>
              <a:gd name="adj" fmla="val 13175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EDW </a:t>
            </a:r>
          </a:p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(Aetna DW)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BF183A1-D23E-4F66-8DE9-43AD2D645D20}"/>
              </a:ext>
            </a:extLst>
          </p:cNvPr>
          <p:cNvSpPr/>
          <p:nvPr/>
        </p:nvSpPr>
        <p:spPr>
          <a:xfrm>
            <a:off x="221889" y="3127600"/>
            <a:ext cx="1061922" cy="3372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External</a:t>
            </a: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94B033BC-8080-4456-BA84-A3B74C8D2F62}"/>
              </a:ext>
            </a:extLst>
          </p:cNvPr>
          <p:cNvSpPr/>
          <p:nvPr/>
        </p:nvSpPr>
        <p:spPr>
          <a:xfrm>
            <a:off x="1963009" y="3050378"/>
            <a:ext cx="3428822" cy="1297033"/>
          </a:xfrm>
          <a:prstGeom prst="roundRect">
            <a:avLst>
              <a:gd name="adj" fmla="val 680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ctr"/>
            <a:r>
              <a:rPr lang="en-US" sz="1350" b="1">
                <a:latin typeface="Arial" panose="020B0604020202020204" pitchFamily="34" charset="0"/>
                <a:cs typeface="Arial" panose="020B0604020202020204" pitchFamily="34" charset="0"/>
              </a:rPr>
              <a:t>Unified Data Platform</a:t>
            </a: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DA9F4D93-7CFA-4830-8B80-B1CF858D0876}"/>
              </a:ext>
            </a:extLst>
          </p:cNvPr>
          <p:cNvCxnSpPr>
            <a:cxnSpLocks/>
          </p:cNvCxnSpPr>
          <p:nvPr/>
        </p:nvCxnSpPr>
        <p:spPr>
          <a:xfrm flipV="1">
            <a:off x="3171688" y="2264318"/>
            <a:ext cx="323930" cy="86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ABD87B3A-4F92-465F-9581-66A30FF11C50}"/>
              </a:ext>
            </a:extLst>
          </p:cNvPr>
          <p:cNvCxnSpPr>
            <a:cxnSpLocks/>
          </p:cNvCxnSpPr>
          <p:nvPr/>
        </p:nvCxnSpPr>
        <p:spPr>
          <a:xfrm>
            <a:off x="1340057" y="3267939"/>
            <a:ext cx="562991" cy="2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0457EA85-F457-407A-B39E-064C51FA6864}"/>
              </a:ext>
            </a:extLst>
          </p:cNvPr>
          <p:cNvCxnSpPr>
            <a:cxnSpLocks/>
            <a:stCxn id="130" idx="3"/>
          </p:cNvCxnSpPr>
          <p:nvPr/>
        </p:nvCxnSpPr>
        <p:spPr>
          <a:xfrm>
            <a:off x="1283811" y="2256136"/>
            <a:ext cx="793084" cy="9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EF66CD95-2F4E-4F16-96FF-E1138A818BA8}"/>
              </a:ext>
            </a:extLst>
          </p:cNvPr>
          <p:cNvSpPr/>
          <p:nvPr/>
        </p:nvSpPr>
        <p:spPr>
          <a:xfrm>
            <a:off x="3509685" y="1592406"/>
            <a:ext cx="1020641" cy="979463"/>
          </a:xfrm>
          <a:prstGeom prst="roundRect">
            <a:avLst>
              <a:gd name="adj" fmla="val 11278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Reporting and Analysis (legacy)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23BFFBA-DE6C-4AA7-BEB7-46FB19DC1DCC}"/>
              </a:ext>
            </a:extLst>
          </p:cNvPr>
          <p:cNvSpPr/>
          <p:nvPr/>
        </p:nvSpPr>
        <p:spPr>
          <a:xfrm>
            <a:off x="1963008" y="3061889"/>
            <a:ext cx="3331257" cy="925455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Unified Data Fabric</a:t>
            </a:r>
          </a:p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D64874A-EE3D-49D1-96E9-3FA7691F1E29}"/>
              </a:ext>
            </a:extLst>
          </p:cNvPr>
          <p:cNvSpPr txBox="1"/>
          <p:nvPr/>
        </p:nvSpPr>
        <p:spPr>
          <a:xfrm>
            <a:off x="2882337" y="3419177"/>
            <a:ext cx="8531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Conformed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29EFF6ED-A1FC-4CB5-A000-E4E517042298}"/>
              </a:ext>
            </a:extLst>
          </p:cNvPr>
          <p:cNvSpPr txBox="1"/>
          <p:nvPr/>
        </p:nvSpPr>
        <p:spPr>
          <a:xfrm>
            <a:off x="3872315" y="3419177"/>
            <a:ext cx="7478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Enriched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6EA5F2D0-3D8B-434E-85F4-719191F4BEA3}"/>
              </a:ext>
            </a:extLst>
          </p:cNvPr>
          <p:cNvSpPr txBox="1"/>
          <p:nvPr/>
        </p:nvSpPr>
        <p:spPr>
          <a:xfrm>
            <a:off x="1981655" y="3419177"/>
            <a:ext cx="9204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Raw Source</a:t>
            </a:r>
          </a:p>
        </p:txBody>
      </p:sp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5EFDB00F-9447-45AE-829E-DA1189595C26}"/>
              </a:ext>
            </a:extLst>
          </p:cNvPr>
          <p:cNvCxnSpPr>
            <a:cxnSpLocks/>
          </p:cNvCxnSpPr>
          <p:nvPr/>
        </p:nvCxnSpPr>
        <p:spPr>
          <a:xfrm>
            <a:off x="2602808" y="2594867"/>
            <a:ext cx="0" cy="419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879B426A-DE6F-4CE6-A136-815C768ED3D4}"/>
              </a:ext>
            </a:extLst>
          </p:cNvPr>
          <p:cNvSpPr txBox="1"/>
          <p:nvPr/>
        </p:nvSpPr>
        <p:spPr>
          <a:xfrm>
            <a:off x="4620180" y="3419177"/>
            <a:ext cx="6735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Delivery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7D66FDF-23F9-47EE-866E-2360890DB3D3}"/>
              </a:ext>
            </a:extLst>
          </p:cNvPr>
          <p:cNvSpPr txBox="1"/>
          <p:nvPr/>
        </p:nvSpPr>
        <p:spPr>
          <a:xfrm>
            <a:off x="245519" y="1261684"/>
            <a:ext cx="848761" cy="2284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b="1">
                <a:solidFill>
                  <a:schemeClr val="accent1"/>
                </a:solidFill>
                <a:cs typeface="Open Sans Light"/>
              </a:rPr>
              <a:t>Aetna</a:t>
            </a: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721322FA-9818-40A6-A993-5630C3F8EA27}"/>
              </a:ext>
            </a:extLst>
          </p:cNvPr>
          <p:cNvSpPr/>
          <p:nvPr/>
        </p:nvSpPr>
        <p:spPr>
          <a:xfrm>
            <a:off x="6519747" y="1585762"/>
            <a:ext cx="1260543" cy="1833172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 b="1">
                <a:latin typeface="Arial" panose="020B0604020202020204" pitchFamily="34" charset="0"/>
                <a:cs typeface="Arial" panose="020B0604020202020204" pitchFamily="34" charset="0"/>
              </a:rPr>
              <a:t>PBM Source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8B154F7-698C-451D-ABBE-FFF02709856F}"/>
              </a:ext>
            </a:extLst>
          </p:cNvPr>
          <p:cNvSpPr/>
          <p:nvPr/>
        </p:nvSpPr>
        <p:spPr>
          <a:xfrm>
            <a:off x="6617313" y="2580118"/>
            <a:ext cx="1061922" cy="310527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RX Claim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DAA7A21-D0AE-416B-9FD3-049B0AA08A2A}"/>
              </a:ext>
            </a:extLst>
          </p:cNvPr>
          <p:cNvSpPr/>
          <p:nvPr/>
        </p:nvSpPr>
        <p:spPr>
          <a:xfrm>
            <a:off x="6617313" y="2961343"/>
            <a:ext cx="1083428" cy="333594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Benefit files</a:t>
            </a:r>
          </a:p>
        </p:txBody>
      </p:sp>
      <p:sp>
        <p:nvSpPr>
          <p:cNvPr id="151" name="Rectangle: Rounded Corners 150">
            <a:extLst>
              <a:ext uri="{FF2B5EF4-FFF2-40B4-BE49-F238E27FC236}">
                <a16:creationId xmlns:a16="http://schemas.microsoft.com/office/drawing/2014/main" id="{72EFA885-EBE4-4C38-AD08-13A66FB4105E}"/>
              </a:ext>
            </a:extLst>
          </p:cNvPr>
          <p:cNvSpPr/>
          <p:nvPr/>
        </p:nvSpPr>
        <p:spPr>
          <a:xfrm>
            <a:off x="8477649" y="1780632"/>
            <a:ext cx="1901893" cy="1137270"/>
          </a:xfrm>
          <a:prstGeom prst="roundRect">
            <a:avLst>
              <a:gd name="adj" fmla="val 13175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BM Data Warehouses </a:t>
            </a:r>
          </a:p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RX DW</a:t>
            </a:r>
          </a:p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Caremark EDW</a:t>
            </a:r>
          </a:p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Specialty EDW</a:t>
            </a: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C9B05210-CC75-4938-9D9D-A32DCBC7BD7B}"/>
              </a:ext>
            </a:extLst>
          </p:cNvPr>
          <p:cNvCxnSpPr>
            <a:cxnSpLocks/>
            <a:stCxn id="153" idx="0"/>
            <a:endCxn id="151" idx="2"/>
          </p:cNvCxnSpPr>
          <p:nvPr/>
        </p:nvCxnSpPr>
        <p:spPr>
          <a:xfrm flipV="1">
            <a:off x="9401447" y="2917902"/>
            <a:ext cx="27149" cy="568156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86D38DAC-4F20-4A9A-9233-855EB8C8CB05}"/>
              </a:ext>
            </a:extLst>
          </p:cNvPr>
          <p:cNvSpPr/>
          <p:nvPr/>
        </p:nvSpPr>
        <p:spPr>
          <a:xfrm>
            <a:off x="10723053" y="1780632"/>
            <a:ext cx="1186047" cy="979463"/>
          </a:xfrm>
          <a:prstGeom prst="roundRect">
            <a:avLst>
              <a:gd name="adj" fmla="val 11278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Reporting and Analysis</a:t>
            </a:r>
          </a:p>
        </p:txBody>
      </p: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B812BF1B-19C1-47D2-B553-FF854E56B047}"/>
              </a:ext>
            </a:extLst>
          </p:cNvPr>
          <p:cNvCxnSpPr>
            <a:cxnSpLocks/>
            <a:stCxn id="151" idx="3"/>
          </p:cNvCxnSpPr>
          <p:nvPr/>
        </p:nvCxnSpPr>
        <p:spPr>
          <a:xfrm>
            <a:off x="10379542" y="2349267"/>
            <a:ext cx="40107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0255DB00-30B8-4D5E-9979-B8FC7E26FAF2}"/>
              </a:ext>
            </a:extLst>
          </p:cNvPr>
          <p:cNvSpPr txBox="1"/>
          <p:nvPr/>
        </p:nvSpPr>
        <p:spPr>
          <a:xfrm>
            <a:off x="11396871" y="1272016"/>
            <a:ext cx="624819" cy="3073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b="1">
                <a:solidFill>
                  <a:schemeClr val="accent1"/>
                </a:solidFill>
                <a:cs typeface="Open Sans Light"/>
              </a:rPr>
              <a:t>PBM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1A23BD4-978A-4392-97DA-DF9E08EAEC9D}"/>
              </a:ext>
            </a:extLst>
          </p:cNvPr>
          <p:cNvSpPr txBox="1"/>
          <p:nvPr/>
        </p:nvSpPr>
        <p:spPr>
          <a:xfrm>
            <a:off x="11214504" y="4171373"/>
            <a:ext cx="694596" cy="1772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b="1">
                <a:solidFill>
                  <a:schemeClr val="accent1"/>
                </a:solidFill>
                <a:cs typeface="Open Sans Light"/>
              </a:rPr>
              <a:t>Retail</a:t>
            </a:r>
            <a:endParaRPr lang="en-US" sz="1600" b="1">
              <a:solidFill>
                <a:schemeClr val="accent1"/>
              </a:solidFill>
              <a:cs typeface="Open Sans Light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CB58EF7-BFD0-46BE-899E-4566CF9F9E1D}"/>
              </a:ext>
            </a:extLst>
          </p:cNvPr>
          <p:cNvCxnSpPr>
            <a:cxnSpLocks/>
          </p:cNvCxnSpPr>
          <p:nvPr/>
        </p:nvCxnSpPr>
        <p:spPr>
          <a:xfrm flipH="1">
            <a:off x="5937448" y="1366976"/>
            <a:ext cx="1" cy="3090404"/>
          </a:xfrm>
          <a:prstGeom prst="line">
            <a:avLst/>
          </a:prstGeom>
          <a:ln w="12700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AB08A57D-1DC0-4C3D-ADE0-28DD4E2FD75E}"/>
              </a:ext>
            </a:extLst>
          </p:cNvPr>
          <p:cNvSpPr txBox="1"/>
          <p:nvPr/>
        </p:nvSpPr>
        <p:spPr>
          <a:xfrm>
            <a:off x="1380978" y="3055171"/>
            <a:ext cx="619636" cy="430887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 Ingest  (Batch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2323" y="941398"/>
            <a:ext cx="2215094" cy="346159"/>
          </a:xfrm>
          <a:prstGeom prst="rect">
            <a:avLst/>
          </a:prstGeom>
          <a:solidFill>
            <a:schemeClr val="bg1"/>
          </a:solidFill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99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Current State</a:t>
            </a: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7D8A4101-D54D-4F85-AA33-93E20C2417AD}"/>
              </a:ext>
            </a:extLst>
          </p:cNvPr>
          <p:cNvCxnSpPr>
            <a:cxnSpLocks/>
          </p:cNvCxnSpPr>
          <p:nvPr/>
        </p:nvCxnSpPr>
        <p:spPr>
          <a:xfrm>
            <a:off x="7751422" y="2308137"/>
            <a:ext cx="793084" cy="90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1AFD908B-36D7-463D-9D6C-7F71A562D234}"/>
              </a:ext>
            </a:extLst>
          </p:cNvPr>
          <p:cNvSpPr/>
          <p:nvPr/>
        </p:nvSpPr>
        <p:spPr>
          <a:xfrm>
            <a:off x="4661857" y="1592406"/>
            <a:ext cx="874520" cy="979463"/>
          </a:xfrm>
          <a:prstGeom prst="roundRect">
            <a:avLst>
              <a:gd name="adj" fmla="val 11278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Data Science Insights</a:t>
            </a: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63BFEEED-CEAF-4849-8423-DDCEC4698076}"/>
              </a:ext>
            </a:extLst>
          </p:cNvPr>
          <p:cNvCxnSpPr>
            <a:cxnSpLocks/>
          </p:cNvCxnSpPr>
          <p:nvPr/>
        </p:nvCxnSpPr>
        <p:spPr>
          <a:xfrm flipV="1">
            <a:off x="5069023" y="2546080"/>
            <a:ext cx="0" cy="45351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ounded Rectangle 122">
            <a:extLst>
              <a:ext uri="{FF2B5EF4-FFF2-40B4-BE49-F238E27FC236}">
                <a16:creationId xmlns:a16="http://schemas.microsoft.com/office/drawing/2014/main" id="{746A318C-BA70-4263-963F-FC7856B42ADE}"/>
              </a:ext>
            </a:extLst>
          </p:cNvPr>
          <p:cNvSpPr/>
          <p:nvPr/>
        </p:nvSpPr>
        <p:spPr>
          <a:xfrm>
            <a:off x="3161967" y="4670816"/>
            <a:ext cx="4200934" cy="1764223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tx2">
                    <a:lumMod val="50000"/>
                  </a:schemeClr>
                </a:solidFill>
              </a:rPr>
              <a:t>Retail Data Warehouses</a:t>
            </a:r>
          </a:p>
        </p:txBody>
      </p:sp>
      <p:sp>
        <p:nvSpPr>
          <p:cNvPr id="220" name="Rectangle: Rounded Corners 3">
            <a:extLst>
              <a:ext uri="{FF2B5EF4-FFF2-40B4-BE49-F238E27FC236}">
                <a16:creationId xmlns:a16="http://schemas.microsoft.com/office/drawing/2014/main" id="{00A2F59E-AF02-4498-9340-29E55C2873B5}"/>
              </a:ext>
            </a:extLst>
          </p:cNvPr>
          <p:cNvSpPr/>
          <p:nvPr/>
        </p:nvSpPr>
        <p:spPr>
          <a:xfrm>
            <a:off x="7601496" y="5925023"/>
            <a:ext cx="3116471" cy="50700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1400" b="1" u="sng">
                <a:solidFill>
                  <a:schemeClr val="tx1"/>
                </a:solidFill>
              </a:rPr>
              <a:t>Retail Cloud DL</a:t>
            </a:r>
          </a:p>
          <a:p>
            <a:pPr algn="ctr" defTabSz="457200"/>
            <a:r>
              <a:rPr lang="en-US" sz="1400">
                <a:solidFill>
                  <a:schemeClr val="tx1"/>
                </a:solidFill>
              </a:rPr>
              <a:t>Data Lake   Storage   Model scoring</a:t>
            </a:r>
          </a:p>
        </p:txBody>
      </p:sp>
      <p:cxnSp>
        <p:nvCxnSpPr>
          <p:cNvPr id="236" name="Straight Arrow Connector 235">
            <a:extLst>
              <a:ext uri="{FF2B5EF4-FFF2-40B4-BE49-F238E27FC236}">
                <a16:creationId xmlns:a16="http://schemas.microsoft.com/office/drawing/2014/main" id="{8DE38AA4-B8A2-4A64-82F3-5A07EF3BF435}"/>
              </a:ext>
            </a:extLst>
          </p:cNvPr>
          <p:cNvCxnSpPr>
            <a:cxnSpLocks/>
            <a:stCxn id="237" idx="0"/>
          </p:cNvCxnSpPr>
          <p:nvPr/>
        </p:nvCxnSpPr>
        <p:spPr>
          <a:xfrm flipV="1">
            <a:off x="9438203" y="4045977"/>
            <a:ext cx="0" cy="713348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7" name="Rectangle: Rounded Corners 236">
            <a:extLst>
              <a:ext uri="{FF2B5EF4-FFF2-40B4-BE49-F238E27FC236}">
                <a16:creationId xmlns:a16="http://schemas.microsoft.com/office/drawing/2014/main" id="{C1994C5B-F2E2-4260-96AE-E5505E65F840}"/>
              </a:ext>
            </a:extLst>
          </p:cNvPr>
          <p:cNvSpPr/>
          <p:nvPr/>
        </p:nvSpPr>
        <p:spPr>
          <a:xfrm>
            <a:off x="8855188" y="4759325"/>
            <a:ext cx="1166030" cy="979463"/>
          </a:xfrm>
          <a:prstGeom prst="roundRect">
            <a:avLst>
              <a:gd name="adj" fmla="val 11278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cs typeface="Arial" panose="020B0604020202020204" pitchFamily="34" charset="0"/>
              </a:rPr>
              <a:t>Reporting  Analysis</a:t>
            </a:r>
          </a:p>
          <a:p>
            <a:pPr algn="ctr"/>
            <a:r>
              <a:rPr lang="en-US" sz="1400">
                <a:cs typeface="Arial" panose="020B0604020202020204" pitchFamily="34" charset="0"/>
              </a:rPr>
              <a:t>Data Science</a:t>
            </a:r>
          </a:p>
        </p:txBody>
      </p: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101E6754-8612-43EE-B2C5-A1B792F382BB}"/>
              </a:ext>
            </a:extLst>
          </p:cNvPr>
          <p:cNvCxnSpPr>
            <a:cxnSpLocks/>
          </p:cNvCxnSpPr>
          <p:nvPr/>
        </p:nvCxnSpPr>
        <p:spPr>
          <a:xfrm flipV="1">
            <a:off x="1549117" y="5411694"/>
            <a:ext cx="1575335" cy="86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1A63F091-B519-41A5-B2F7-03C026488FF0}"/>
              </a:ext>
            </a:extLst>
          </p:cNvPr>
          <p:cNvSpPr/>
          <p:nvPr/>
        </p:nvSpPr>
        <p:spPr>
          <a:xfrm>
            <a:off x="3237623" y="5007191"/>
            <a:ext cx="1288532" cy="483732"/>
          </a:xfrm>
          <a:prstGeom prst="roundRect">
            <a:avLst>
              <a:gd name="adj" fmla="val 13175"/>
            </a:avLst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cs typeface="Arial" panose="020B0604020202020204" pitchFamily="34" charset="0"/>
              </a:rPr>
              <a:t>Omnicare Data Marts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A74AC745-F79F-49C0-920D-EC919DE6E1B4}"/>
              </a:ext>
            </a:extLst>
          </p:cNvPr>
          <p:cNvSpPr/>
          <p:nvPr/>
        </p:nvSpPr>
        <p:spPr>
          <a:xfrm>
            <a:off x="3242704" y="5746164"/>
            <a:ext cx="1738483" cy="480825"/>
          </a:xfrm>
          <a:prstGeom prst="roundRect">
            <a:avLst>
              <a:gd name="adj" fmla="val 13175"/>
            </a:avLst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 err="1"/>
              <a:t>RxDW</a:t>
            </a:r>
            <a:r>
              <a:rPr lang="en-US" sz="1400"/>
              <a:t> Legacy DW</a:t>
            </a:r>
          </a:p>
          <a:p>
            <a:pPr algn="ctr"/>
            <a:r>
              <a:rPr lang="en-US" sz="1400"/>
              <a:t>PWP1  DW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705C1934-6A6E-4CF1-8486-23177711BE11}"/>
              </a:ext>
            </a:extLst>
          </p:cNvPr>
          <p:cNvSpPr/>
          <p:nvPr/>
        </p:nvSpPr>
        <p:spPr>
          <a:xfrm>
            <a:off x="4592442" y="5005819"/>
            <a:ext cx="1432796" cy="684300"/>
          </a:xfrm>
          <a:prstGeom prst="roundRect">
            <a:avLst>
              <a:gd name="adj" fmla="val 13175"/>
            </a:avLst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/>
              <a:t>Retail Offer Channel </a:t>
            </a:r>
            <a:r>
              <a:rPr lang="en-US" sz="1400" err="1"/>
              <a:t>Mgmt</a:t>
            </a:r>
            <a:r>
              <a:rPr lang="en-US" sz="1400"/>
              <a:t> (ROCM)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DF4A1EF9-B3C4-4899-B72D-EF0CCC1A5D80}"/>
              </a:ext>
            </a:extLst>
          </p:cNvPr>
          <p:cNvSpPr/>
          <p:nvPr/>
        </p:nvSpPr>
        <p:spPr>
          <a:xfrm>
            <a:off x="5080688" y="5763324"/>
            <a:ext cx="926916" cy="374086"/>
          </a:xfrm>
          <a:prstGeom prst="roundRect">
            <a:avLst>
              <a:gd name="adj" fmla="val 13175"/>
            </a:avLst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/>
              <a:t>IDW DW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CFCAEBE2-CE2D-432C-86FA-1E2751E3B5B7}"/>
              </a:ext>
            </a:extLst>
          </p:cNvPr>
          <p:cNvSpPr/>
          <p:nvPr/>
        </p:nvSpPr>
        <p:spPr>
          <a:xfrm>
            <a:off x="6099034" y="5007191"/>
            <a:ext cx="1226352" cy="1212967"/>
          </a:xfrm>
          <a:prstGeom prst="roundRect">
            <a:avLst>
              <a:gd name="adj" fmla="val 13175"/>
            </a:avLst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 err="1"/>
              <a:t>RxDW</a:t>
            </a:r>
            <a:r>
              <a:rPr lang="en-US" sz="1400"/>
              <a:t> DW</a:t>
            </a:r>
          </a:p>
          <a:p>
            <a:pPr algn="ctr"/>
            <a:r>
              <a:rPr lang="en-US" sz="1400"/>
              <a:t>OLTP</a:t>
            </a:r>
          </a:p>
          <a:p>
            <a:pPr algn="ctr"/>
            <a:r>
              <a:rPr lang="en-US" sz="1400" err="1"/>
              <a:t>RxDW</a:t>
            </a:r>
            <a:r>
              <a:rPr lang="en-US" sz="1400"/>
              <a:t>-PCI</a:t>
            </a:r>
          </a:p>
          <a:p>
            <a:pPr algn="ctr"/>
            <a:r>
              <a:rPr lang="en-US" sz="1400"/>
              <a:t>Compliance DW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66FADC21-CF80-4818-8D3B-AC9E1849D409}"/>
              </a:ext>
            </a:extLst>
          </p:cNvPr>
          <p:cNvCxnSpPr>
            <a:cxnSpLocks/>
          </p:cNvCxnSpPr>
          <p:nvPr/>
        </p:nvCxnSpPr>
        <p:spPr>
          <a:xfrm flipV="1">
            <a:off x="5444391" y="3749204"/>
            <a:ext cx="3263830" cy="10860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9EFB8728-AD4A-4FB7-86D8-FDC8C416FA6F}"/>
              </a:ext>
            </a:extLst>
          </p:cNvPr>
          <p:cNvCxnSpPr>
            <a:cxnSpLocks/>
          </p:cNvCxnSpPr>
          <p:nvPr/>
        </p:nvCxnSpPr>
        <p:spPr>
          <a:xfrm flipV="1">
            <a:off x="7362902" y="3987344"/>
            <a:ext cx="1331116" cy="1206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0F8E62B-8545-4FA4-BECA-862762BF60A1}"/>
              </a:ext>
            </a:extLst>
          </p:cNvPr>
          <p:cNvCxnSpPr>
            <a:cxnSpLocks/>
          </p:cNvCxnSpPr>
          <p:nvPr/>
        </p:nvCxnSpPr>
        <p:spPr>
          <a:xfrm>
            <a:off x="180966" y="4405329"/>
            <a:ext cx="5756482" cy="0"/>
          </a:xfrm>
          <a:prstGeom prst="line">
            <a:avLst/>
          </a:prstGeom>
          <a:ln w="12700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6D88E5BA-721F-4794-8C89-6EDBB98A1CF4}"/>
              </a:ext>
            </a:extLst>
          </p:cNvPr>
          <p:cNvSpPr/>
          <p:nvPr/>
        </p:nvSpPr>
        <p:spPr>
          <a:xfrm>
            <a:off x="258415" y="4468258"/>
            <a:ext cx="1159091" cy="197466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050" b="1">
                <a:latin typeface="Arial" panose="020B0604020202020204" pitchFamily="34" charset="0"/>
                <a:cs typeface="Arial" panose="020B0604020202020204" pitchFamily="34" charset="0"/>
              </a:rPr>
              <a:t>Retail Sourc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6433AA6-03E2-40E7-BC49-96CB586D14B6}"/>
              </a:ext>
            </a:extLst>
          </p:cNvPr>
          <p:cNvSpPr/>
          <p:nvPr/>
        </p:nvSpPr>
        <p:spPr>
          <a:xfrm>
            <a:off x="299338" y="4831808"/>
            <a:ext cx="1061922" cy="579886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Transactional Systems of Record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ADB9446-75F7-4F21-8C01-EA85722E1ED3}"/>
              </a:ext>
            </a:extLst>
          </p:cNvPr>
          <p:cNvSpPr/>
          <p:nvPr/>
        </p:nvSpPr>
        <p:spPr>
          <a:xfrm>
            <a:off x="299338" y="5468253"/>
            <a:ext cx="1061922" cy="936510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RxConnect</a:t>
            </a:r>
          </a:p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Store Systems</a:t>
            </a:r>
          </a:p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Mainframe – Inv</a:t>
            </a:r>
          </a:p>
          <a:p>
            <a:pPr algn="ctr"/>
            <a:r>
              <a:rPr lang="en-US" sz="1050">
                <a:latin typeface="Arial" panose="020B0604020202020204" pitchFamily="34" charset="0"/>
                <a:cs typeface="Arial" panose="020B0604020202020204" pitchFamily="34" charset="0"/>
              </a:rPr>
              <a:t>Omnicare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DA9529E-3031-4B8B-9080-ED93C3CB346E}"/>
              </a:ext>
            </a:extLst>
          </p:cNvPr>
          <p:cNvSpPr/>
          <p:nvPr/>
        </p:nvSpPr>
        <p:spPr>
          <a:xfrm>
            <a:off x="6605977" y="1923013"/>
            <a:ext cx="1061922" cy="579886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35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Transactional Systems of Record</a:t>
            </a:r>
          </a:p>
        </p:txBody>
      </p:sp>
      <p:sp>
        <p:nvSpPr>
          <p:cNvPr id="153" name="Rectangle: Rounded Corners 152">
            <a:extLst>
              <a:ext uri="{FF2B5EF4-FFF2-40B4-BE49-F238E27FC236}">
                <a16:creationId xmlns:a16="http://schemas.microsoft.com/office/drawing/2014/main" id="{56D7301C-3F17-470A-A849-3085FA5A5A3C}"/>
              </a:ext>
            </a:extLst>
          </p:cNvPr>
          <p:cNvSpPr/>
          <p:nvPr/>
        </p:nvSpPr>
        <p:spPr>
          <a:xfrm>
            <a:off x="8694018" y="3486058"/>
            <a:ext cx="1414858" cy="540143"/>
          </a:xfrm>
          <a:prstGeom prst="roundRect">
            <a:avLst>
              <a:gd name="adj" fmla="val 13175"/>
            </a:avLst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400">
                <a:cs typeface="Arial" panose="020B0604020202020204" pitchFamily="34" charset="0"/>
              </a:rPr>
              <a:t>PBM &amp; Retail Data Lak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A7D51E1-C55E-4511-AD92-4ACFA9123421}"/>
              </a:ext>
            </a:extLst>
          </p:cNvPr>
          <p:cNvSpPr txBox="1"/>
          <p:nvPr/>
        </p:nvSpPr>
        <p:spPr>
          <a:xfrm>
            <a:off x="1865296" y="5199096"/>
            <a:ext cx="613811" cy="21544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Ingest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257F960-EF5B-4E9A-818B-5A054F3D1662}"/>
              </a:ext>
            </a:extLst>
          </p:cNvPr>
          <p:cNvSpPr txBox="1"/>
          <p:nvPr/>
        </p:nvSpPr>
        <p:spPr>
          <a:xfrm>
            <a:off x="7908830" y="2083643"/>
            <a:ext cx="568819" cy="21544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Ingest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C387125D-C490-4A47-83D7-1CE6D5A04889}"/>
              </a:ext>
            </a:extLst>
          </p:cNvPr>
          <p:cNvSpPr txBox="1"/>
          <p:nvPr/>
        </p:nvSpPr>
        <p:spPr>
          <a:xfrm>
            <a:off x="8832276" y="2692570"/>
            <a:ext cx="1156946" cy="215444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 ETL Pipeline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59D6CA9-4792-47B2-9A97-FF3791653374}"/>
              </a:ext>
            </a:extLst>
          </p:cNvPr>
          <p:cNvSpPr txBox="1"/>
          <p:nvPr/>
        </p:nvSpPr>
        <p:spPr>
          <a:xfrm>
            <a:off x="4981186" y="6234583"/>
            <a:ext cx="1114813" cy="215444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 ETL Pipelin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CD4A1DD-E1BF-454F-85A3-5E1F04DBA035}"/>
              </a:ext>
            </a:extLst>
          </p:cNvPr>
          <p:cNvSpPr txBox="1"/>
          <p:nvPr/>
        </p:nvSpPr>
        <p:spPr>
          <a:xfrm>
            <a:off x="3124451" y="3737995"/>
            <a:ext cx="1094631" cy="215444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 ETL Pipeline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820D8B5F-35F2-449F-A49A-45CC681D4D20}"/>
              </a:ext>
            </a:extLst>
          </p:cNvPr>
          <p:cNvCxnSpPr>
            <a:cxnSpLocks/>
          </p:cNvCxnSpPr>
          <p:nvPr/>
        </p:nvCxnSpPr>
        <p:spPr>
          <a:xfrm flipV="1">
            <a:off x="10073482" y="2772837"/>
            <a:ext cx="1091257" cy="940241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1915F7E-EC95-4406-A622-764B0509020D}"/>
              </a:ext>
            </a:extLst>
          </p:cNvPr>
          <p:cNvCxnSpPr>
            <a:cxnSpLocks/>
          </p:cNvCxnSpPr>
          <p:nvPr/>
        </p:nvCxnSpPr>
        <p:spPr>
          <a:xfrm flipH="1" flipV="1">
            <a:off x="5373090" y="3829770"/>
            <a:ext cx="1989811" cy="13110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156C9A1-3161-4BB9-A512-FD2B0E95DD6B}"/>
              </a:ext>
            </a:extLst>
          </p:cNvPr>
          <p:cNvCxnSpPr>
            <a:cxnSpLocks/>
            <a:stCxn id="134" idx="3"/>
          </p:cNvCxnSpPr>
          <p:nvPr/>
        </p:nvCxnSpPr>
        <p:spPr>
          <a:xfrm flipV="1">
            <a:off x="5391831" y="2905071"/>
            <a:ext cx="3152675" cy="793824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solid"/>
            <a:round/>
            <a:headEnd type="arrow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7168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607319"/>
          </a:xfrm>
        </p:spPr>
        <p:txBody>
          <a:bodyPr/>
          <a:lstStyle/>
          <a:p>
            <a:r>
              <a:rPr lang="en-US" sz="200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In an ideal future state, </a:t>
            </a:r>
            <a:r>
              <a:rPr lang="en-US" sz="2000">
                <a:latin typeface="+mj-lt"/>
              </a:rPr>
              <a:t>the Data Platform is funded as a product and has a proactive data acquisition roadmap anticipating business initiatives.  </a:t>
            </a:r>
            <a:endParaRPr lang="en-US" sz="2000"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3886142" y="2585301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2989249" y="2387852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ject Based</a:t>
            </a:r>
          </a:p>
        </p:txBody>
      </p:sp>
      <p:sp>
        <p:nvSpPr>
          <p:cNvPr id="7" name="Oval 6"/>
          <p:cNvSpPr/>
          <p:nvPr/>
        </p:nvSpPr>
        <p:spPr>
          <a:xfrm>
            <a:off x="4157494" y="2107203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Based</a:t>
            </a:r>
          </a:p>
        </p:txBody>
      </p:sp>
      <p:sp>
        <p:nvSpPr>
          <p:cNvPr id="8" name="Oval 7"/>
          <p:cNvSpPr/>
          <p:nvPr/>
        </p:nvSpPr>
        <p:spPr>
          <a:xfrm>
            <a:off x="7539906" y="2387851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active and disparate</a:t>
            </a:r>
          </a:p>
        </p:txBody>
      </p:sp>
      <p:sp>
        <p:nvSpPr>
          <p:cNvPr id="9" name="Oval 8"/>
          <p:cNvSpPr/>
          <p:nvPr/>
        </p:nvSpPr>
        <p:spPr>
          <a:xfrm>
            <a:off x="8707629" y="2107203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37160" rIns="0" rtlCol="0" anchor="ctr"/>
          <a:lstStyle/>
          <a:p>
            <a:pPr algn="ctr"/>
            <a:r>
              <a:rPr lang="en-US" sz="13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active and Unifie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23364" y="264773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we </a:t>
            </a:r>
            <a:b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nt to go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8443304" y="2561586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 rot="20010059">
            <a:off x="2908424" y="2345707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From…</a:t>
            </a:r>
          </a:p>
        </p:txBody>
      </p:sp>
      <p:sp>
        <p:nvSpPr>
          <p:cNvPr id="13" name="Rectangle 12"/>
          <p:cNvSpPr/>
          <p:nvPr/>
        </p:nvSpPr>
        <p:spPr>
          <a:xfrm rot="19270328">
            <a:off x="4365838" y="2040691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accent2"/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To…</a:t>
            </a:r>
          </a:p>
        </p:txBody>
      </p:sp>
      <p:sp>
        <p:nvSpPr>
          <p:cNvPr id="14" name="Rectangle 13"/>
          <p:cNvSpPr/>
          <p:nvPr/>
        </p:nvSpPr>
        <p:spPr>
          <a:xfrm rot="20010059">
            <a:off x="7468024" y="2345706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From…</a:t>
            </a:r>
          </a:p>
        </p:txBody>
      </p:sp>
      <p:sp>
        <p:nvSpPr>
          <p:cNvPr id="15" name="Rectangle 14"/>
          <p:cNvSpPr/>
          <p:nvPr/>
        </p:nvSpPr>
        <p:spPr>
          <a:xfrm rot="19270328">
            <a:off x="8925438" y="2040690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accent2"/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To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1856186" y="3736546"/>
            <a:ext cx="470171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Funding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nding is available to build and enhance the foundational services of the Data Platform 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 data objects roadmap is aligned with business needs and funded </a:t>
            </a:r>
            <a:endParaRPr lang="en-US" sz="14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1879976" y="5305778"/>
            <a:ext cx="4701715" cy="91440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Model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 data usage charge model is implemented for business users and applications</a:t>
            </a: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  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740651" y="194162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 4969"/>
          <p:cNvSpPr>
            <a:spLocks noEditPoints="1"/>
          </p:cNvSpPr>
          <p:nvPr/>
        </p:nvSpPr>
        <p:spPr bwMode="auto">
          <a:xfrm>
            <a:off x="3195903" y="3717000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reeform 4969"/>
          <p:cNvSpPr>
            <a:spLocks noEditPoints="1"/>
          </p:cNvSpPr>
          <p:nvPr/>
        </p:nvSpPr>
        <p:spPr bwMode="auto">
          <a:xfrm>
            <a:off x="3195903" y="5305778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615307" y="1686975"/>
            <a:ext cx="13676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nding Mode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132112" y="1686975"/>
            <a:ext cx="14475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Availabil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6952056" y="3746567"/>
            <a:ext cx="454100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active Data Identification 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initiatives drive the data ingestion prioritie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is proactively acquired in advance of planned projec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6952056" y="5184360"/>
            <a:ext cx="454100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plication Intake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lemented common application intake process that avoids duplication of data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is provided a dashboard with status of newly acquired data.</a:t>
            </a:r>
          </a:p>
        </p:txBody>
      </p:sp>
      <p:sp>
        <p:nvSpPr>
          <p:cNvPr id="25" name="Freeform 4969"/>
          <p:cNvSpPr>
            <a:spLocks noEditPoints="1"/>
          </p:cNvSpPr>
          <p:nvPr/>
        </p:nvSpPr>
        <p:spPr bwMode="auto">
          <a:xfrm>
            <a:off x="7478319" y="3727021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Freeform 4969"/>
          <p:cNvSpPr>
            <a:spLocks noEditPoints="1"/>
          </p:cNvSpPr>
          <p:nvPr/>
        </p:nvSpPr>
        <p:spPr bwMode="auto">
          <a:xfrm>
            <a:off x="7475210" y="5209428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086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30" y="679475"/>
            <a:ext cx="10127672" cy="719493"/>
          </a:xfrm>
        </p:spPr>
        <p:txBody>
          <a:bodyPr/>
          <a:lstStyle/>
          <a:p>
            <a:r>
              <a:rPr lang="en-US" sz="2000"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Data Platform provides a Data Catalog that describes data available supported by cohesive processes and technology to rapidly deliver data to business </a:t>
            </a:r>
          </a:p>
        </p:txBody>
      </p:sp>
      <p:sp>
        <p:nvSpPr>
          <p:cNvPr id="5" name="Right Arrow 4"/>
          <p:cNvSpPr/>
          <p:nvPr/>
        </p:nvSpPr>
        <p:spPr>
          <a:xfrm>
            <a:off x="3751205" y="2244343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2854312" y="2046894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imited and Manual</a:t>
            </a:r>
          </a:p>
        </p:txBody>
      </p:sp>
      <p:sp>
        <p:nvSpPr>
          <p:cNvPr id="7" name="Oval 6"/>
          <p:cNvSpPr/>
          <p:nvPr/>
        </p:nvSpPr>
        <p:spPr>
          <a:xfrm>
            <a:off x="4022557" y="1766245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usted &amp; Quality Data</a:t>
            </a:r>
          </a:p>
        </p:txBody>
      </p:sp>
      <p:sp>
        <p:nvSpPr>
          <p:cNvPr id="8" name="Oval 7"/>
          <p:cNvSpPr/>
          <p:nvPr/>
        </p:nvSpPr>
        <p:spPr>
          <a:xfrm>
            <a:off x="7420738" y="2046893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erging but Separate</a:t>
            </a:r>
          </a:p>
        </p:txBody>
      </p:sp>
      <p:sp>
        <p:nvSpPr>
          <p:cNvPr id="9" name="Oval 8"/>
          <p:cNvSpPr/>
          <p:nvPr/>
        </p:nvSpPr>
        <p:spPr>
          <a:xfrm>
            <a:off x="8588461" y="1766245"/>
            <a:ext cx="1495308" cy="149727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37160" rIns="0" rtlCol="0" anchor="ctr"/>
          <a:lstStyle/>
          <a:p>
            <a:pPr algn="ctr"/>
            <a:r>
              <a:rPr lang="en-US" sz="13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hesive and Complet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23364" y="264773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we </a:t>
            </a:r>
            <a:b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nt to go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8324136" y="2220628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 rot="20010059">
            <a:off x="2773487" y="2004749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From…</a:t>
            </a:r>
          </a:p>
        </p:txBody>
      </p:sp>
      <p:sp>
        <p:nvSpPr>
          <p:cNvPr id="13" name="Rectangle 12"/>
          <p:cNvSpPr/>
          <p:nvPr/>
        </p:nvSpPr>
        <p:spPr>
          <a:xfrm rot="19270328">
            <a:off x="4230901" y="1699733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accent2"/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To…</a:t>
            </a:r>
          </a:p>
        </p:txBody>
      </p:sp>
      <p:sp>
        <p:nvSpPr>
          <p:cNvPr id="14" name="Rectangle 13"/>
          <p:cNvSpPr/>
          <p:nvPr/>
        </p:nvSpPr>
        <p:spPr>
          <a:xfrm rot="20010059">
            <a:off x="7348856" y="2004748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From…</a:t>
            </a:r>
          </a:p>
        </p:txBody>
      </p:sp>
      <p:sp>
        <p:nvSpPr>
          <p:cNvPr id="15" name="Rectangle 14"/>
          <p:cNvSpPr/>
          <p:nvPr/>
        </p:nvSpPr>
        <p:spPr>
          <a:xfrm rot="19270328">
            <a:off x="8806270" y="1699732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>
                <a:solidFill>
                  <a:schemeClr val="accent2"/>
                </a:solidFill>
                <a:latin typeface="Arial" panose="020B0604020202020204" pitchFamily="34" charset="0"/>
                <a:cs typeface="Arial" charset="0"/>
                <a:sym typeface="Arial" panose="020B0604020202020204" pitchFamily="34" charset="0"/>
              </a:rPr>
              <a:t>To…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1334129" y="3358806"/>
            <a:ext cx="4904467" cy="92442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Stewardship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Catalog captures details of data available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olicies and rules are enforced, business owners of data are identifi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1334130" y="4455493"/>
            <a:ext cx="4820815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data Management and Data Quality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-data is captured automatically; including data lineage, source details, etc.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quality status is tracked and reported back to business owner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196771" y="1673451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 4969"/>
          <p:cNvSpPr>
            <a:spLocks noEditPoints="1"/>
          </p:cNvSpPr>
          <p:nvPr/>
        </p:nvSpPr>
        <p:spPr bwMode="auto">
          <a:xfrm>
            <a:off x="1807561" y="3376042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Freeform 4969"/>
          <p:cNvSpPr>
            <a:spLocks noEditPoints="1"/>
          </p:cNvSpPr>
          <p:nvPr/>
        </p:nvSpPr>
        <p:spPr bwMode="auto">
          <a:xfrm>
            <a:off x="1789699" y="4515453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32754" y="1346017"/>
            <a:ext cx="26629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758" fontAlgn="base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cs typeface="Arial"/>
                <a:sym typeface="Arial" panose="020B0604020202020204" pitchFamily="34" charset="0"/>
              </a:rPr>
              <a:t>Data Governance &amp; Ownership</a:t>
            </a:r>
            <a:endParaRPr lang="en-US" sz="1400"/>
          </a:p>
        </p:txBody>
      </p:sp>
      <p:sp>
        <p:nvSpPr>
          <p:cNvPr id="22" name="Rectangle 21"/>
          <p:cNvSpPr/>
          <p:nvPr/>
        </p:nvSpPr>
        <p:spPr>
          <a:xfrm>
            <a:off x="6797643" y="1365674"/>
            <a:ext cx="43107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758">
              <a:spcBef>
                <a:spcPts val="1200"/>
              </a:spcBef>
              <a:defRPr/>
            </a:pPr>
            <a:r>
              <a:rPr lang="en-US" sz="1400">
                <a:solidFill>
                  <a:srgbClr val="414141"/>
                </a:solidFill>
                <a:cs typeface="Arial"/>
                <a:sym typeface="Arial" panose="020B0604020202020204" pitchFamily="34" charset="0"/>
              </a:rPr>
              <a:t>Data Management, Infrastructure, and Consumption</a:t>
            </a:r>
            <a:endParaRPr lang="en-US" sz="1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6549099" y="3358806"/>
            <a:ext cx="5491867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Management and Operations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Ingestion process implemented eliminating data duplication 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utomation of metadata capture provides insight to business about data and data transformation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745967-7367-4DAD-B714-7E64C7F7BAA4}"/>
              </a:ext>
            </a:extLst>
          </p:cNvPr>
          <p:cNvSpPr txBox="1"/>
          <p:nvPr/>
        </p:nvSpPr>
        <p:spPr>
          <a:xfrm>
            <a:off x="6657483" y="4455493"/>
            <a:ext cx="5409330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Delivery/ Consumption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assets are available to business through self service acces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Delivery supports different service level requirements.    </a:t>
            </a:r>
          </a:p>
        </p:txBody>
      </p:sp>
      <p:sp>
        <p:nvSpPr>
          <p:cNvPr id="25" name="Freeform 4969"/>
          <p:cNvSpPr>
            <a:spLocks noEditPoints="1"/>
          </p:cNvSpPr>
          <p:nvPr/>
        </p:nvSpPr>
        <p:spPr bwMode="auto">
          <a:xfrm>
            <a:off x="7381698" y="3386063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Freeform 4969"/>
          <p:cNvSpPr>
            <a:spLocks noEditPoints="1"/>
          </p:cNvSpPr>
          <p:nvPr/>
        </p:nvSpPr>
        <p:spPr bwMode="auto">
          <a:xfrm>
            <a:off x="7421338" y="4465514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B2B9C17-616A-44D1-8C08-27E6D7D31492}"/>
              </a:ext>
            </a:extLst>
          </p:cNvPr>
          <p:cNvSpPr txBox="1"/>
          <p:nvPr/>
        </p:nvSpPr>
        <p:spPr>
          <a:xfrm>
            <a:off x="1334130" y="5528070"/>
            <a:ext cx="5003558" cy="96120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Security &amp; Compliance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Platform meets CSO and Legal data requirement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Trust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environment that aligns with compliance policies</a:t>
            </a:r>
          </a:p>
        </p:txBody>
      </p:sp>
      <p:sp>
        <p:nvSpPr>
          <p:cNvPr id="34" name="Freeform 4969">
            <a:extLst>
              <a:ext uri="{FF2B5EF4-FFF2-40B4-BE49-F238E27FC236}">
                <a16:creationId xmlns:a16="http://schemas.microsoft.com/office/drawing/2014/main" id="{23D763DD-DCC3-43AB-AB53-4A790157F40B}"/>
              </a:ext>
            </a:extLst>
          </p:cNvPr>
          <p:cNvSpPr>
            <a:spLocks noEditPoints="1"/>
          </p:cNvSpPr>
          <p:nvPr/>
        </p:nvSpPr>
        <p:spPr bwMode="auto">
          <a:xfrm>
            <a:off x="1797732" y="5583902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228612-BE47-4409-94C4-34892472947F}"/>
              </a:ext>
            </a:extLst>
          </p:cNvPr>
          <p:cNvSpPr txBox="1"/>
          <p:nvPr/>
        </p:nvSpPr>
        <p:spPr>
          <a:xfrm>
            <a:off x="6574941" y="5477811"/>
            <a:ext cx="5491872" cy="9144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300"/>
              </a:spcBef>
            </a:pP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frastructure and Technology </a:t>
            </a:r>
            <a:endParaRPr lang="en-US" sz="14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n-demand capacity and tooling based on business needs; extend to cloud to adapt rapidly and cost efficiently</a:t>
            </a:r>
          </a:p>
        </p:txBody>
      </p:sp>
      <p:sp>
        <p:nvSpPr>
          <p:cNvPr id="36" name="Freeform 4969">
            <a:extLst>
              <a:ext uri="{FF2B5EF4-FFF2-40B4-BE49-F238E27FC236}">
                <a16:creationId xmlns:a16="http://schemas.microsoft.com/office/drawing/2014/main" id="{F0F3BCDA-B880-4CD7-A48F-B38078F3B623}"/>
              </a:ext>
            </a:extLst>
          </p:cNvPr>
          <p:cNvSpPr>
            <a:spLocks noEditPoints="1"/>
          </p:cNvSpPr>
          <p:nvPr/>
        </p:nvSpPr>
        <p:spPr bwMode="auto">
          <a:xfrm>
            <a:off x="7406254" y="5494817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569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Oval 147">
            <a:extLst>
              <a:ext uri="{FF2B5EF4-FFF2-40B4-BE49-F238E27FC236}">
                <a16:creationId xmlns:a16="http://schemas.microsoft.com/office/drawing/2014/main" id="{A6461FD6-4EB5-49B8-8306-694EB256B8C3}"/>
              </a:ext>
            </a:extLst>
          </p:cNvPr>
          <p:cNvSpPr>
            <a:spLocks noChangeAspect="1"/>
          </p:cNvSpPr>
          <p:nvPr/>
        </p:nvSpPr>
        <p:spPr>
          <a:xfrm rot="20265000">
            <a:off x="9798741" y="3839474"/>
            <a:ext cx="64795" cy="157018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9" name="Title 128">
            <a:extLst>
              <a:ext uri="{FF2B5EF4-FFF2-40B4-BE49-F238E27FC236}">
                <a16:creationId xmlns:a16="http://schemas.microsoft.com/office/drawing/2014/main" id="{20F1491C-45A9-4D46-860D-5B6DA0051B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466" y="309210"/>
            <a:ext cx="9667726" cy="370265"/>
          </a:xfrm>
        </p:spPr>
        <p:txBody>
          <a:bodyPr/>
          <a:lstStyle/>
          <a:p>
            <a:r>
              <a:rPr lang="en-US"/>
              <a:t>Enabling Business with self service access to data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20C30EBA-1EA1-4062-987D-99F354EA73A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2466" y="679475"/>
            <a:ext cx="10306383" cy="422275"/>
          </a:xfrm>
        </p:spPr>
        <p:txBody>
          <a:bodyPr/>
          <a:lstStyle/>
          <a:p>
            <a:r>
              <a:rPr lang="en-US" sz="2000"/>
              <a:t>Trusted and consistent data made available on deman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DA0273E-5AFF-47A1-AA06-2DD142A1799F}"/>
              </a:ext>
            </a:extLst>
          </p:cNvPr>
          <p:cNvSpPr txBox="1"/>
          <p:nvPr/>
        </p:nvSpPr>
        <p:spPr>
          <a:xfrm>
            <a:off x="8409147" y="3754177"/>
            <a:ext cx="1309887" cy="30055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Enrich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30024DD-DDB7-40E6-9B0F-A7F036323CE1}"/>
              </a:ext>
            </a:extLst>
          </p:cNvPr>
          <p:cNvSpPr txBox="1"/>
          <p:nvPr/>
        </p:nvSpPr>
        <p:spPr>
          <a:xfrm>
            <a:off x="6994065" y="2263021"/>
            <a:ext cx="1309887" cy="2237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Selec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66932A5-4D95-4B5E-89BE-1953089D32F0}"/>
              </a:ext>
            </a:extLst>
          </p:cNvPr>
          <p:cNvSpPr txBox="1"/>
          <p:nvPr/>
        </p:nvSpPr>
        <p:spPr>
          <a:xfrm>
            <a:off x="7005483" y="5294918"/>
            <a:ext cx="1309887" cy="2998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Man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24EE00-C94A-43C2-8D1A-8106EE366783}"/>
              </a:ext>
            </a:extLst>
          </p:cNvPr>
          <p:cNvSpPr txBox="1"/>
          <p:nvPr/>
        </p:nvSpPr>
        <p:spPr>
          <a:xfrm>
            <a:off x="5488069" y="3754177"/>
            <a:ext cx="1309887" cy="2998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Analyz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C8A94D6-F862-499C-A11A-9F8CF52DCF78}"/>
              </a:ext>
            </a:extLst>
          </p:cNvPr>
          <p:cNvSpPr txBox="1"/>
          <p:nvPr/>
        </p:nvSpPr>
        <p:spPr>
          <a:xfrm>
            <a:off x="8192721" y="3985737"/>
            <a:ext cx="982603" cy="8150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cs typeface="Open Sans Light"/>
              </a:rPr>
              <a:t>Self service data access and data preparation</a:t>
            </a:r>
          </a:p>
          <a:p>
            <a:pPr defTabSz="456758" fontAlgn="base">
              <a:spcBef>
                <a:spcPts val="1200"/>
              </a:spcBef>
            </a:pPr>
            <a:endParaRPr lang="en-US" sz="1600">
              <a:cs typeface="Open Sans Ligh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CC15021-6E06-4B11-8A89-14A4DD977778}"/>
              </a:ext>
            </a:extLst>
          </p:cNvPr>
          <p:cNvSpPr txBox="1"/>
          <p:nvPr/>
        </p:nvSpPr>
        <p:spPr>
          <a:xfrm>
            <a:off x="6772072" y="2501166"/>
            <a:ext cx="1278997" cy="4527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Discover and </a:t>
            </a:r>
          </a:p>
          <a:p>
            <a:r>
              <a:rPr lang="en-US" sz="1200"/>
              <a:t>understand data</a:t>
            </a:r>
          </a:p>
          <a:p>
            <a:pPr defTabSz="456758" fontAlgn="base">
              <a:spcBef>
                <a:spcPts val="1200"/>
              </a:spcBef>
            </a:pPr>
            <a:endParaRPr lang="en-US" sz="1600">
              <a:cs typeface="Open Sans Light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36F401B4-E562-412F-98E1-6AC719409579}"/>
              </a:ext>
            </a:extLst>
          </p:cNvPr>
          <p:cNvSpPr/>
          <p:nvPr/>
        </p:nvSpPr>
        <p:spPr>
          <a:xfrm>
            <a:off x="8601672" y="2402217"/>
            <a:ext cx="2670628" cy="2786743"/>
          </a:xfrm>
          <a:custGeom>
            <a:avLst/>
            <a:gdLst>
              <a:gd name="connsiteX0" fmla="*/ 72571 w 2670628"/>
              <a:gd name="connsiteY0" fmla="*/ 377372 h 2786743"/>
              <a:gd name="connsiteX1" fmla="*/ 2627086 w 2670628"/>
              <a:gd name="connsiteY1" fmla="*/ 0 h 2786743"/>
              <a:gd name="connsiteX2" fmla="*/ 2670628 w 2670628"/>
              <a:gd name="connsiteY2" fmla="*/ 2423886 h 2786743"/>
              <a:gd name="connsiteX3" fmla="*/ 0 w 2670628"/>
              <a:gd name="connsiteY3" fmla="*/ 2786743 h 2786743"/>
              <a:gd name="connsiteX4" fmla="*/ 116114 w 2670628"/>
              <a:gd name="connsiteY4" fmla="*/ 420915 h 2786743"/>
              <a:gd name="connsiteX5" fmla="*/ 159657 w 2670628"/>
              <a:gd name="connsiteY5" fmla="*/ 348343 h 2786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0628" h="2786743">
                <a:moveTo>
                  <a:pt x="72571" y="377372"/>
                </a:moveTo>
                <a:lnTo>
                  <a:pt x="2627086" y="0"/>
                </a:lnTo>
                <a:lnTo>
                  <a:pt x="2670628" y="2423886"/>
                </a:lnTo>
                <a:lnTo>
                  <a:pt x="0" y="2786743"/>
                </a:lnTo>
                <a:lnTo>
                  <a:pt x="116114" y="420915"/>
                </a:lnTo>
                <a:lnTo>
                  <a:pt x="159657" y="348343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888D449-9A27-405A-B655-656A2BFF2EAD}"/>
              </a:ext>
            </a:extLst>
          </p:cNvPr>
          <p:cNvGrpSpPr/>
          <p:nvPr/>
        </p:nvGrpSpPr>
        <p:grpSpPr>
          <a:xfrm rot="19094969">
            <a:off x="5031202" y="1825618"/>
            <a:ext cx="4514736" cy="4504929"/>
            <a:chOff x="3658976" y="343899"/>
            <a:chExt cx="5266655" cy="5266656"/>
          </a:xfrm>
          <a:solidFill>
            <a:schemeClr val="accent5"/>
          </a:solidFill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DB74FC4-A8C5-4126-A3B6-61D4C921B626}"/>
                </a:ext>
              </a:extLst>
            </p:cNvPr>
            <p:cNvGrpSpPr/>
            <p:nvPr/>
          </p:nvGrpSpPr>
          <p:grpSpPr>
            <a:xfrm>
              <a:off x="3658976" y="343899"/>
              <a:ext cx="5266655" cy="5266656"/>
              <a:chOff x="3658976" y="343899"/>
              <a:chExt cx="5266655" cy="52666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D625324-566C-4CB4-99EE-55FA3F980329}"/>
                  </a:ext>
                </a:extLst>
              </p:cNvPr>
              <p:cNvGrpSpPr/>
              <p:nvPr/>
            </p:nvGrpSpPr>
            <p:grpSpPr>
              <a:xfrm>
                <a:off x="3658976" y="343899"/>
                <a:ext cx="5266655" cy="5266656"/>
                <a:chOff x="3658976" y="343899"/>
                <a:chExt cx="5266655" cy="5266656"/>
              </a:xfrm>
              <a:grpFill/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E951BF39-99BA-4DE2-8EA3-260D20250979}"/>
                    </a:ext>
                  </a:extLst>
                </p:cNvPr>
                <p:cNvGrpSpPr/>
                <p:nvPr/>
              </p:nvGrpSpPr>
              <p:grpSpPr>
                <a:xfrm>
                  <a:off x="3658976" y="343899"/>
                  <a:ext cx="5266655" cy="5266656"/>
                  <a:chOff x="3658976" y="343899"/>
                  <a:chExt cx="5266655" cy="5266656"/>
                </a:xfrm>
                <a:grpFill/>
              </p:grpSpPr>
              <p:grpSp>
                <p:nvGrpSpPr>
                  <p:cNvPr id="57" name="Group 56">
                    <a:extLst>
                      <a:ext uri="{FF2B5EF4-FFF2-40B4-BE49-F238E27FC236}">
                        <a16:creationId xmlns:a16="http://schemas.microsoft.com/office/drawing/2014/main" id="{5E041534-D1A4-4CA7-A9AE-C10C21A833DB}"/>
                      </a:ext>
                    </a:extLst>
                  </p:cNvPr>
                  <p:cNvGrpSpPr/>
                  <p:nvPr/>
                </p:nvGrpSpPr>
                <p:grpSpPr>
                  <a:xfrm>
                    <a:off x="3658976" y="343899"/>
                    <a:ext cx="5266655" cy="5266656"/>
                    <a:chOff x="3658976" y="343899"/>
                    <a:chExt cx="5266655" cy="5266656"/>
                  </a:xfrm>
                  <a:grpFill/>
                </p:grpSpPr>
                <p:sp>
                  <p:nvSpPr>
                    <p:cNvPr id="59" name="Arrow: Circular 58">
                      <a:extLst>
                        <a:ext uri="{FF2B5EF4-FFF2-40B4-BE49-F238E27FC236}">
                          <a16:creationId xmlns:a16="http://schemas.microsoft.com/office/drawing/2014/main" id="{FDB339A0-D278-4E55-B9B5-914E87F562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11742" y="343899"/>
                      <a:ext cx="5113889" cy="5113889"/>
                    </a:xfrm>
                    <a:prstGeom prst="circularArrow">
                      <a:avLst>
                        <a:gd name="adj1" fmla="val 5085"/>
                        <a:gd name="adj2" fmla="val 327528"/>
                        <a:gd name="adj3" fmla="val 21272472"/>
                        <a:gd name="adj4" fmla="val 16200000"/>
                        <a:gd name="adj5" fmla="val 5932"/>
                      </a:avLst>
                    </a:prstGeom>
                    <a:solidFill>
                      <a:schemeClr val="accent6">
                        <a:lumMod val="60000"/>
                        <a:lumOff val="40000"/>
                      </a:schemeClr>
                    </a:solidFill>
                  </p:spPr>
                  <p:style>
                    <a:ln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Arrow: Circular 59">
                      <a:extLst>
                        <a:ext uri="{FF2B5EF4-FFF2-40B4-BE49-F238E27FC236}">
                          <a16:creationId xmlns:a16="http://schemas.microsoft.com/office/drawing/2014/main" id="{FB2C666C-FBEF-456D-A4C1-3612249E4C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11742" y="496666"/>
                      <a:ext cx="5113889" cy="5113889"/>
                    </a:xfrm>
                    <a:prstGeom prst="circularArrow">
                      <a:avLst>
                        <a:gd name="adj1" fmla="val 5085"/>
                        <a:gd name="adj2" fmla="val 327528"/>
                        <a:gd name="adj3" fmla="val 5072472"/>
                        <a:gd name="adj4" fmla="val 0"/>
                        <a:gd name="adj5" fmla="val 5932"/>
                      </a:avLst>
                    </a:prstGeom>
                    <a:solidFill>
                      <a:schemeClr val="accent6">
                        <a:lumMod val="60000"/>
                        <a:lumOff val="40000"/>
                      </a:schemeClr>
                    </a:solidFill>
                  </p:spPr>
                  <p:style>
                    <a:ln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Arrow: Circular 60">
                      <a:extLst>
                        <a:ext uri="{FF2B5EF4-FFF2-40B4-BE49-F238E27FC236}">
                          <a16:creationId xmlns:a16="http://schemas.microsoft.com/office/drawing/2014/main" id="{DFF952A4-3DC9-446B-B779-CE83AADD5C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58976" y="496666"/>
                      <a:ext cx="5113889" cy="5113889"/>
                    </a:xfrm>
                    <a:prstGeom prst="circularArrow">
                      <a:avLst>
                        <a:gd name="adj1" fmla="val 5085"/>
                        <a:gd name="adj2" fmla="val 327528"/>
                        <a:gd name="adj3" fmla="val 10472472"/>
                        <a:gd name="adj4" fmla="val 5400000"/>
                        <a:gd name="adj5" fmla="val 5932"/>
                      </a:avLst>
                    </a:prstGeom>
                    <a:solidFill>
                      <a:schemeClr val="accent6">
                        <a:lumMod val="60000"/>
                        <a:lumOff val="40000"/>
                      </a:schemeClr>
                    </a:solidFill>
                  </p:spPr>
                  <p:style>
                    <a:ln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</p:sp>
                <p:sp>
                  <p:nvSpPr>
                    <p:cNvPr id="62" name="Arrow: Circular 61">
                      <a:extLst>
                        <a:ext uri="{FF2B5EF4-FFF2-40B4-BE49-F238E27FC236}">
                          <a16:creationId xmlns:a16="http://schemas.microsoft.com/office/drawing/2014/main" id="{B767ADCE-F588-412D-B918-B91E73AF0A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658976" y="343899"/>
                      <a:ext cx="5113889" cy="5113889"/>
                    </a:xfrm>
                    <a:prstGeom prst="circularArrow">
                      <a:avLst>
                        <a:gd name="adj1" fmla="val 5085"/>
                        <a:gd name="adj2" fmla="val 327528"/>
                        <a:gd name="adj3" fmla="val 15872472"/>
                        <a:gd name="adj4" fmla="val 10800000"/>
                        <a:gd name="adj5" fmla="val 5932"/>
                      </a:avLst>
                    </a:prstGeom>
                    <a:solidFill>
                      <a:schemeClr val="accent6">
                        <a:lumMod val="60000"/>
                        <a:lumOff val="40000"/>
                      </a:schemeClr>
                    </a:solidFill>
                  </p:spPr>
                  <p:style>
                    <a:ln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lnRef>
                    <a:fillRef idx="1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fillRef>
                    <a:effectRef idx="0">
                      <a:schemeClr val="accent1">
                        <a:tint val="60000"/>
                        <a:hueOff val="0"/>
                        <a:satOff val="0"/>
                        <a:lumOff val="0"/>
                        <a:alphaOff val="0"/>
                      </a:schemeClr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B1F6C47D-BBDA-432A-9C43-989637CA79ED}"/>
                      </a:ext>
                    </a:extLst>
                  </p:cNvPr>
                  <p:cNvSpPr/>
                  <p:nvPr/>
                </p:nvSpPr>
                <p:spPr>
                  <a:xfrm rot="2708014">
                    <a:off x="7850931" y="691821"/>
                    <a:ext cx="556379" cy="491406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b="1">
                        <a:latin typeface="Open Sans Bold"/>
                        <a:cs typeface="Open Sans Bold"/>
                      </a:rPr>
                      <a:t>1</a:t>
                    </a:r>
                  </a:p>
                </p:txBody>
              </p:sp>
            </p:grpSp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816C8D8C-D122-43EE-ABED-AD4C89ADA8A0}"/>
                    </a:ext>
                  </a:extLst>
                </p:cNvPr>
                <p:cNvSpPr/>
                <p:nvPr/>
              </p:nvSpPr>
              <p:spPr>
                <a:xfrm rot="2505031">
                  <a:off x="8130532" y="4495874"/>
                  <a:ext cx="563880" cy="48487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>
                      <a:latin typeface="Open Sans Bold"/>
                      <a:cs typeface="Open Sans Bold"/>
                    </a:rPr>
                    <a:t>2</a:t>
                  </a: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8BE8C6E-571F-4550-A5E3-D54648D9E7F2}"/>
                  </a:ext>
                </a:extLst>
              </p:cNvPr>
              <p:cNvSpPr/>
              <p:nvPr/>
            </p:nvSpPr>
            <p:spPr>
              <a:xfrm rot="2505031">
                <a:off x="4255333" y="4830539"/>
                <a:ext cx="563880" cy="48487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>
                    <a:latin typeface="Open Sans Bold"/>
                    <a:cs typeface="Open Sans Bold"/>
                  </a:rPr>
                  <a:t>3</a:t>
                </a:r>
              </a:p>
            </p:txBody>
          </p:sp>
        </p:grp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81A4271F-C6BA-4E75-A03F-243EA0404286}"/>
                </a:ext>
              </a:extLst>
            </p:cNvPr>
            <p:cNvSpPr/>
            <p:nvPr/>
          </p:nvSpPr>
          <p:spPr>
            <a:xfrm rot="2281613">
              <a:off x="4023441" y="846019"/>
              <a:ext cx="563880" cy="484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latin typeface="Open Sans Bold"/>
                  <a:cs typeface="Open Sans Bold"/>
                </a:rPr>
                <a:t>4</a:t>
              </a:r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91212A12-F27E-4C23-A36C-AE64B44948CB}"/>
              </a:ext>
            </a:extLst>
          </p:cNvPr>
          <p:cNvSpPr/>
          <p:nvPr/>
        </p:nvSpPr>
        <p:spPr>
          <a:xfrm>
            <a:off x="8664809" y="2563326"/>
            <a:ext cx="2377440" cy="213360"/>
          </a:xfrm>
          <a:custGeom>
            <a:avLst/>
            <a:gdLst>
              <a:gd name="connsiteX0" fmla="*/ 0 w 2377440"/>
              <a:gd name="connsiteY0" fmla="*/ 213360 h 213360"/>
              <a:gd name="connsiteX1" fmla="*/ 0 w 2377440"/>
              <a:gd name="connsiteY1" fmla="*/ 213360 h 213360"/>
              <a:gd name="connsiteX2" fmla="*/ 655320 w 2377440"/>
              <a:gd name="connsiteY2" fmla="*/ 91440 h 213360"/>
              <a:gd name="connsiteX3" fmla="*/ 701040 w 2377440"/>
              <a:gd name="connsiteY3" fmla="*/ 60960 h 213360"/>
              <a:gd name="connsiteX4" fmla="*/ 1264920 w 2377440"/>
              <a:gd name="connsiteY4" fmla="*/ 76200 h 213360"/>
              <a:gd name="connsiteX5" fmla="*/ 2194560 w 2377440"/>
              <a:gd name="connsiteY5" fmla="*/ 76200 h 213360"/>
              <a:gd name="connsiteX6" fmla="*/ 2362200 w 2377440"/>
              <a:gd name="connsiteY6" fmla="*/ 45720 h 213360"/>
              <a:gd name="connsiteX7" fmla="*/ 2377440 w 2377440"/>
              <a:gd name="connsiteY7" fmla="*/ 0 h 21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77440" h="213360">
                <a:moveTo>
                  <a:pt x="0" y="213360"/>
                </a:moveTo>
                <a:lnTo>
                  <a:pt x="0" y="213360"/>
                </a:lnTo>
                <a:cubicBezTo>
                  <a:pt x="218440" y="172720"/>
                  <a:pt x="438203" y="138639"/>
                  <a:pt x="655320" y="91440"/>
                </a:cubicBezTo>
                <a:cubicBezTo>
                  <a:pt x="673218" y="87549"/>
                  <a:pt x="682730" y="61418"/>
                  <a:pt x="701040" y="60960"/>
                </a:cubicBezTo>
                <a:lnTo>
                  <a:pt x="1264920" y="76200"/>
                </a:lnTo>
                <a:cubicBezTo>
                  <a:pt x="1588316" y="183999"/>
                  <a:pt x="1329159" y="103244"/>
                  <a:pt x="2194560" y="76200"/>
                </a:cubicBezTo>
                <a:cubicBezTo>
                  <a:pt x="2217669" y="75478"/>
                  <a:pt x="2334398" y="51280"/>
                  <a:pt x="2362200" y="45720"/>
                </a:cubicBezTo>
                <a:lnTo>
                  <a:pt x="2377440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0CBC52A9-5196-4F07-B391-D804967930DA}"/>
              </a:ext>
            </a:extLst>
          </p:cNvPr>
          <p:cNvSpPr/>
          <p:nvPr/>
        </p:nvSpPr>
        <p:spPr>
          <a:xfrm>
            <a:off x="8649569" y="2247768"/>
            <a:ext cx="2514904" cy="513678"/>
          </a:xfrm>
          <a:custGeom>
            <a:avLst/>
            <a:gdLst>
              <a:gd name="connsiteX0" fmla="*/ 0 w 2514904"/>
              <a:gd name="connsiteY0" fmla="*/ 513678 h 513678"/>
              <a:gd name="connsiteX1" fmla="*/ 0 w 2514904"/>
              <a:gd name="connsiteY1" fmla="*/ 513678 h 513678"/>
              <a:gd name="connsiteX2" fmla="*/ 259080 w 2514904"/>
              <a:gd name="connsiteY2" fmla="*/ 422238 h 513678"/>
              <a:gd name="connsiteX3" fmla="*/ 487680 w 2514904"/>
              <a:gd name="connsiteY3" fmla="*/ 376518 h 513678"/>
              <a:gd name="connsiteX4" fmla="*/ 609600 w 2514904"/>
              <a:gd name="connsiteY4" fmla="*/ 330798 h 513678"/>
              <a:gd name="connsiteX5" fmla="*/ 655320 w 2514904"/>
              <a:gd name="connsiteY5" fmla="*/ 300318 h 513678"/>
              <a:gd name="connsiteX6" fmla="*/ 853440 w 2514904"/>
              <a:gd name="connsiteY6" fmla="*/ 254598 h 513678"/>
              <a:gd name="connsiteX7" fmla="*/ 1036320 w 2514904"/>
              <a:gd name="connsiteY7" fmla="*/ 208878 h 513678"/>
              <a:gd name="connsiteX8" fmla="*/ 1173480 w 2514904"/>
              <a:gd name="connsiteY8" fmla="*/ 163158 h 513678"/>
              <a:gd name="connsiteX9" fmla="*/ 1569720 w 2514904"/>
              <a:gd name="connsiteY9" fmla="*/ 117438 h 513678"/>
              <a:gd name="connsiteX10" fmla="*/ 1874520 w 2514904"/>
              <a:gd name="connsiteY10" fmla="*/ 71718 h 513678"/>
              <a:gd name="connsiteX11" fmla="*/ 1996440 w 2514904"/>
              <a:gd name="connsiteY11" fmla="*/ 41238 h 513678"/>
              <a:gd name="connsiteX12" fmla="*/ 2514600 w 2514904"/>
              <a:gd name="connsiteY12" fmla="*/ 147918 h 513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14904" h="513678">
                <a:moveTo>
                  <a:pt x="0" y="513678"/>
                </a:moveTo>
                <a:lnTo>
                  <a:pt x="0" y="513678"/>
                </a:lnTo>
                <a:cubicBezTo>
                  <a:pt x="86360" y="483198"/>
                  <a:pt x="168419" y="435190"/>
                  <a:pt x="259080" y="422238"/>
                </a:cubicBezTo>
                <a:cubicBezTo>
                  <a:pt x="407230" y="401074"/>
                  <a:pt x="330911" y="415710"/>
                  <a:pt x="487680" y="376518"/>
                </a:cubicBezTo>
                <a:cubicBezTo>
                  <a:pt x="594902" y="305037"/>
                  <a:pt x="458943" y="387294"/>
                  <a:pt x="609600" y="330798"/>
                </a:cubicBezTo>
                <a:cubicBezTo>
                  <a:pt x="626750" y="324367"/>
                  <a:pt x="638314" y="307120"/>
                  <a:pt x="655320" y="300318"/>
                </a:cubicBezTo>
                <a:cubicBezTo>
                  <a:pt x="724908" y="272483"/>
                  <a:pt x="781337" y="266615"/>
                  <a:pt x="853440" y="254598"/>
                </a:cubicBezTo>
                <a:cubicBezTo>
                  <a:pt x="1035756" y="181672"/>
                  <a:pt x="807014" y="266204"/>
                  <a:pt x="1036320" y="208878"/>
                </a:cubicBezTo>
                <a:cubicBezTo>
                  <a:pt x="1083074" y="197189"/>
                  <a:pt x="1125771" y="169974"/>
                  <a:pt x="1173480" y="163158"/>
                </a:cubicBezTo>
                <a:cubicBezTo>
                  <a:pt x="1447396" y="124027"/>
                  <a:pt x="1315246" y="138644"/>
                  <a:pt x="1569720" y="117438"/>
                </a:cubicBezTo>
                <a:cubicBezTo>
                  <a:pt x="1800646" y="51459"/>
                  <a:pt x="1531067" y="120783"/>
                  <a:pt x="1874520" y="71718"/>
                </a:cubicBezTo>
                <a:cubicBezTo>
                  <a:pt x="1915990" y="65794"/>
                  <a:pt x="1955800" y="51398"/>
                  <a:pt x="1996440" y="41238"/>
                </a:cubicBezTo>
                <a:cubicBezTo>
                  <a:pt x="2545067" y="57374"/>
                  <a:pt x="2514600" y="-116317"/>
                  <a:pt x="2514600" y="147918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A655E33D-68CD-468D-A61E-791726D07C4B}"/>
              </a:ext>
            </a:extLst>
          </p:cNvPr>
          <p:cNvSpPr/>
          <p:nvPr/>
        </p:nvSpPr>
        <p:spPr>
          <a:xfrm>
            <a:off x="8360009" y="2349966"/>
            <a:ext cx="2759605" cy="2926080"/>
          </a:xfrm>
          <a:custGeom>
            <a:avLst/>
            <a:gdLst>
              <a:gd name="connsiteX0" fmla="*/ 0 w 2759605"/>
              <a:gd name="connsiteY0" fmla="*/ 2926080 h 2926080"/>
              <a:gd name="connsiteX1" fmla="*/ 0 w 2759605"/>
              <a:gd name="connsiteY1" fmla="*/ 2926080 h 2926080"/>
              <a:gd name="connsiteX2" fmla="*/ 2286000 w 2759605"/>
              <a:gd name="connsiteY2" fmla="*/ 2545080 h 2926080"/>
              <a:gd name="connsiteX3" fmla="*/ 2697480 w 2759605"/>
              <a:gd name="connsiteY3" fmla="*/ 2514600 h 2926080"/>
              <a:gd name="connsiteX4" fmla="*/ 2758440 w 2759605"/>
              <a:gd name="connsiteY4" fmla="*/ 2575560 h 2926080"/>
              <a:gd name="connsiteX5" fmla="*/ 2758440 w 2759605"/>
              <a:gd name="connsiteY5" fmla="*/ 0 h 2926080"/>
              <a:gd name="connsiteX6" fmla="*/ 289560 w 2759605"/>
              <a:gd name="connsiteY6" fmla="*/ 457200 h 2926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59605" h="2926080">
                <a:moveTo>
                  <a:pt x="0" y="2926080"/>
                </a:moveTo>
                <a:lnTo>
                  <a:pt x="0" y="2926080"/>
                </a:lnTo>
                <a:lnTo>
                  <a:pt x="2286000" y="2545080"/>
                </a:lnTo>
                <a:cubicBezTo>
                  <a:pt x="2891528" y="2454599"/>
                  <a:pt x="2506544" y="2578245"/>
                  <a:pt x="2697480" y="2514600"/>
                </a:cubicBezTo>
                <a:cubicBezTo>
                  <a:pt x="2773225" y="2533536"/>
                  <a:pt x="2758440" y="2508895"/>
                  <a:pt x="2758440" y="2575560"/>
                </a:cubicBezTo>
                <a:lnTo>
                  <a:pt x="2758440" y="0"/>
                </a:lnTo>
                <a:lnTo>
                  <a:pt x="289560" y="45720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EFC0795E-9686-4E2A-9962-D703D7E70636}"/>
              </a:ext>
            </a:extLst>
          </p:cNvPr>
          <p:cNvSpPr/>
          <p:nvPr/>
        </p:nvSpPr>
        <p:spPr>
          <a:xfrm>
            <a:off x="6566404" y="3327743"/>
            <a:ext cx="1506226" cy="1483100"/>
          </a:xfrm>
          <a:prstGeom prst="ellipse">
            <a:avLst/>
          </a:prstGeom>
          <a:solidFill>
            <a:schemeClr val="accent2"/>
          </a:solidFill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/>
          <a:lstStyle/>
          <a:p>
            <a:pPr algn="ctr" defTabSz="456758" fontAlgn="base"/>
            <a:r>
              <a:rPr lang="en-US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Platform 2.0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C7856A98-7287-469B-B119-AE018D48D3CA}"/>
              </a:ext>
            </a:extLst>
          </p:cNvPr>
          <p:cNvSpPr txBox="1"/>
          <p:nvPr/>
        </p:nvSpPr>
        <p:spPr>
          <a:xfrm>
            <a:off x="5629045" y="3985737"/>
            <a:ext cx="1237029" cy="8232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>
                <a:cs typeface="Open Sans Light"/>
              </a:rPr>
              <a:t>Traditional reporting</a:t>
            </a:r>
          </a:p>
          <a:p>
            <a:r>
              <a:rPr lang="en-US" sz="1200">
                <a:cs typeface="Open Sans Light"/>
              </a:rPr>
              <a:t>Analytic dashboards</a:t>
            </a:r>
          </a:p>
          <a:p>
            <a:r>
              <a:rPr lang="en-US" sz="1200">
                <a:cs typeface="Open Sans Light"/>
              </a:rPr>
              <a:t>Advanced Analytic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cs typeface="Open Sans Light"/>
            </a:endParaRPr>
          </a:p>
          <a:p>
            <a:pPr defTabSz="456758" fontAlgn="base">
              <a:spcBef>
                <a:spcPts val="1200"/>
              </a:spcBef>
            </a:pPr>
            <a:endParaRPr lang="en-US" sz="1600">
              <a:cs typeface="Open Sans Light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3932F833-6CD5-42D0-A739-8123B104AD9D}"/>
              </a:ext>
            </a:extLst>
          </p:cNvPr>
          <p:cNvGrpSpPr/>
          <p:nvPr/>
        </p:nvGrpSpPr>
        <p:grpSpPr>
          <a:xfrm>
            <a:off x="8771350" y="1602656"/>
            <a:ext cx="1783082" cy="1213161"/>
            <a:chOff x="5123518" y="1537441"/>
            <a:chExt cx="1783082" cy="1213161"/>
          </a:xfrm>
        </p:grpSpPr>
        <p:sp>
          <p:nvSpPr>
            <p:cNvPr id="133" name="Cloud 132">
              <a:extLst>
                <a:ext uri="{FF2B5EF4-FFF2-40B4-BE49-F238E27FC236}">
                  <a16:creationId xmlns:a16="http://schemas.microsoft.com/office/drawing/2014/main" id="{1AB1A42A-5073-4489-8175-71A1A95144DD}"/>
                </a:ext>
              </a:extLst>
            </p:cNvPr>
            <p:cNvSpPr/>
            <p:nvPr/>
          </p:nvSpPr>
          <p:spPr>
            <a:xfrm rot="253504">
              <a:off x="5123518" y="1537441"/>
              <a:ext cx="1740757" cy="1213161"/>
            </a:xfrm>
            <a:prstGeom prst="cloud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600"/>
                </a:spcAft>
              </a:pPr>
              <a:endPara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0C30BD1F-7F57-45E3-AEDD-4D2AA4137477}"/>
                </a:ext>
              </a:extLst>
            </p:cNvPr>
            <p:cNvSpPr/>
            <p:nvPr/>
          </p:nvSpPr>
          <p:spPr>
            <a:xfrm>
              <a:off x="5270210" y="1759990"/>
              <a:ext cx="163639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>
                <a:spcAft>
                  <a:spcPts val="800"/>
                </a:spcAft>
              </a:pPr>
              <a:r>
                <a:rPr lang="en-US" sz="14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 can find data and know what it means.</a:t>
              </a: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FD6ADACC-25D5-4E4C-ABD3-B116716F4729}"/>
              </a:ext>
            </a:extLst>
          </p:cNvPr>
          <p:cNvGrpSpPr/>
          <p:nvPr/>
        </p:nvGrpSpPr>
        <p:grpSpPr>
          <a:xfrm>
            <a:off x="10402893" y="4671387"/>
            <a:ext cx="1484500" cy="1282129"/>
            <a:chOff x="17839455" y="1256986"/>
            <a:chExt cx="1740757" cy="1213161"/>
          </a:xfrm>
        </p:grpSpPr>
        <p:sp>
          <p:nvSpPr>
            <p:cNvPr id="136" name="Cloud 135">
              <a:extLst>
                <a:ext uri="{FF2B5EF4-FFF2-40B4-BE49-F238E27FC236}">
                  <a16:creationId xmlns:a16="http://schemas.microsoft.com/office/drawing/2014/main" id="{AB12CC55-FCF6-4386-9267-3F6CDDFE97FD}"/>
                </a:ext>
              </a:extLst>
            </p:cNvPr>
            <p:cNvSpPr/>
            <p:nvPr/>
          </p:nvSpPr>
          <p:spPr>
            <a:xfrm rot="253504">
              <a:off x="17839455" y="1256986"/>
              <a:ext cx="1740757" cy="1213161"/>
            </a:xfrm>
            <a:prstGeom prst="cloud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600"/>
                </a:spcAft>
              </a:pPr>
              <a:endPara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FAB3F149-CEC4-4C0E-8D93-A9A8E79D8B81}"/>
                </a:ext>
              </a:extLst>
            </p:cNvPr>
            <p:cNvSpPr/>
            <p:nvPr/>
          </p:nvSpPr>
          <p:spPr>
            <a:xfrm>
              <a:off x="18168868" y="1474279"/>
              <a:ext cx="1328016" cy="7809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>
                <a:spcAft>
                  <a:spcPts val="800"/>
                </a:spcAft>
              </a:pPr>
              <a:r>
                <a:rPr lang="en-US" sz="14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Use my BI tool of choice </a:t>
              </a:r>
            </a:p>
            <a:p>
              <a:pPr marL="0" lvl="2">
                <a:spcAft>
                  <a:spcPts val="800"/>
                </a:spcAft>
              </a:pPr>
              <a:endParaRPr lang="en-US"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38" name="Rectangle 137">
            <a:extLst>
              <a:ext uri="{FF2B5EF4-FFF2-40B4-BE49-F238E27FC236}">
                <a16:creationId xmlns:a16="http://schemas.microsoft.com/office/drawing/2014/main" id="{2DADA310-89F7-4579-9DEB-545D4B26078E}"/>
              </a:ext>
            </a:extLst>
          </p:cNvPr>
          <p:cNvSpPr/>
          <p:nvPr/>
        </p:nvSpPr>
        <p:spPr>
          <a:xfrm>
            <a:off x="6685104" y="5440666"/>
            <a:ext cx="14845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cs typeface="Open Sans Light"/>
              </a:rPr>
              <a:t>Analytic stores or in memory storage</a:t>
            </a:r>
          </a:p>
        </p:txBody>
      </p:sp>
      <p:sp>
        <p:nvSpPr>
          <p:cNvPr id="141" name="Freeform 26">
            <a:extLst>
              <a:ext uri="{FF2B5EF4-FFF2-40B4-BE49-F238E27FC236}">
                <a16:creationId xmlns:a16="http://schemas.microsoft.com/office/drawing/2014/main" id="{66515784-E086-4974-82D4-6BA518BB1734}"/>
              </a:ext>
            </a:extLst>
          </p:cNvPr>
          <p:cNvSpPr>
            <a:spLocks/>
          </p:cNvSpPr>
          <p:nvPr/>
        </p:nvSpPr>
        <p:spPr bwMode="auto">
          <a:xfrm rot="21418279">
            <a:off x="9333717" y="5094263"/>
            <a:ext cx="941742" cy="1473096"/>
          </a:xfrm>
          <a:custGeom>
            <a:avLst/>
            <a:gdLst>
              <a:gd name="T0" fmla="*/ 890 w 992"/>
              <a:gd name="T1" fmla="*/ 560 h 1386"/>
              <a:gd name="T2" fmla="*/ 868 w 992"/>
              <a:gd name="T3" fmla="*/ 496 h 1386"/>
              <a:gd name="T4" fmla="*/ 834 w 992"/>
              <a:gd name="T5" fmla="*/ 474 h 1386"/>
              <a:gd name="T6" fmla="*/ 880 w 992"/>
              <a:gd name="T7" fmla="*/ 650 h 1386"/>
              <a:gd name="T8" fmla="*/ 894 w 992"/>
              <a:gd name="T9" fmla="*/ 768 h 1386"/>
              <a:gd name="T10" fmla="*/ 928 w 992"/>
              <a:gd name="T11" fmla="*/ 794 h 1386"/>
              <a:gd name="T12" fmla="*/ 974 w 992"/>
              <a:gd name="T13" fmla="*/ 792 h 1386"/>
              <a:gd name="T14" fmla="*/ 990 w 992"/>
              <a:gd name="T15" fmla="*/ 768 h 1386"/>
              <a:gd name="T16" fmla="*/ 992 w 992"/>
              <a:gd name="T17" fmla="*/ 786 h 1386"/>
              <a:gd name="T18" fmla="*/ 958 w 992"/>
              <a:gd name="T19" fmla="*/ 814 h 1386"/>
              <a:gd name="T20" fmla="*/ 912 w 992"/>
              <a:gd name="T21" fmla="*/ 810 h 1386"/>
              <a:gd name="T22" fmla="*/ 906 w 992"/>
              <a:gd name="T23" fmla="*/ 882 h 1386"/>
              <a:gd name="T24" fmla="*/ 922 w 992"/>
              <a:gd name="T25" fmla="*/ 888 h 1386"/>
              <a:gd name="T26" fmla="*/ 948 w 992"/>
              <a:gd name="T27" fmla="*/ 876 h 1386"/>
              <a:gd name="T28" fmla="*/ 950 w 992"/>
              <a:gd name="T29" fmla="*/ 890 h 1386"/>
              <a:gd name="T30" fmla="*/ 918 w 992"/>
              <a:gd name="T31" fmla="*/ 906 h 1386"/>
              <a:gd name="T32" fmla="*/ 932 w 992"/>
              <a:gd name="T33" fmla="*/ 926 h 1386"/>
              <a:gd name="T34" fmla="*/ 918 w 992"/>
              <a:gd name="T35" fmla="*/ 934 h 1386"/>
              <a:gd name="T36" fmla="*/ 948 w 992"/>
              <a:gd name="T37" fmla="*/ 936 h 1386"/>
              <a:gd name="T38" fmla="*/ 934 w 992"/>
              <a:gd name="T39" fmla="*/ 950 h 1386"/>
              <a:gd name="T40" fmla="*/ 894 w 992"/>
              <a:gd name="T41" fmla="*/ 960 h 1386"/>
              <a:gd name="T42" fmla="*/ 884 w 992"/>
              <a:gd name="T43" fmla="*/ 1118 h 1386"/>
              <a:gd name="T44" fmla="*/ 898 w 992"/>
              <a:gd name="T45" fmla="*/ 1338 h 1386"/>
              <a:gd name="T46" fmla="*/ 6 w 992"/>
              <a:gd name="T47" fmla="*/ 1386 h 1386"/>
              <a:gd name="T48" fmla="*/ 26 w 992"/>
              <a:gd name="T49" fmla="*/ 1224 h 1386"/>
              <a:gd name="T50" fmla="*/ 24 w 992"/>
              <a:gd name="T51" fmla="*/ 1026 h 1386"/>
              <a:gd name="T52" fmla="*/ 4 w 992"/>
              <a:gd name="T53" fmla="*/ 900 h 1386"/>
              <a:gd name="T54" fmla="*/ 4 w 992"/>
              <a:gd name="T55" fmla="*/ 796 h 1386"/>
              <a:gd name="T56" fmla="*/ 38 w 992"/>
              <a:gd name="T57" fmla="*/ 728 h 1386"/>
              <a:gd name="T58" fmla="*/ 74 w 992"/>
              <a:gd name="T59" fmla="*/ 704 h 1386"/>
              <a:gd name="T60" fmla="*/ 148 w 992"/>
              <a:gd name="T61" fmla="*/ 678 h 1386"/>
              <a:gd name="T62" fmla="*/ 108 w 992"/>
              <a:gd name="T63" fmla="*/ 636 h 1386"/>
              <a:gd name="T64" fmla="*/ 104 w 992"/>
              <a:gd name="T65" fmla="*/ 598 h 1386"/>
              <a:gd name="T66" fmla="*/ 126 w 992"/>
              <a:gd name="T67" fmla="*/ 624 h 1386"/>
              <a:gd name="T68" fmla="*/ 164 w 992"/>
              <a:gd name="T69" fmla="*/ 658 h 1386"/>
              <a:gd name="T70" fmla="*/ 176 w 992"/>
              <a:gd name="T71" fmla="*/ 646 h 1386"/>
              <a:gd name="T72" fmla="*/ 148 w 992"/>
              <a:gd name="T73" fmla="*/ 596 h 1386"/>
              <a:gd name="T74" fmla="*/ 160 w 992"/>
              <a:gd name="T75" fmla="*/ 592 h 1386"/>
              <a:gd name="T76" fmla="*/ 180 w 992"/>
              <a:gd name="T77" fmla="*/ 636 h 1386"/>
              <a:gd name="T78" fmla="*/ 190 w 992"/>
              <a:gd name="T79" fmla="*/ 628 h 1386"/>
              <a:gd name="T80" fmla="*/ 196 w 992"/>
              <a:gd name="T81" fmla="*/ 620 h 1386"/>
              <a:gd name="T82" fmla="*/ 184 w 992"/>
              <a:gd name="T83" fmla="*/ 554 h 1386"/>
              <a:gd name="T84" fmla="*/ 202 w 992"/>
              <a:gd name="T85" fmla="*/ 420 h 1386"/>
              <a:gd name="T86" fmla="*/ 208 w 992"/>
              <a:gd name="T87" fmla="*/ 344 h 1386"/>
              <a:gd name="T88" fmla="*/ 190 w 992"/>
              <a:gd name="T89" fmla="*/ 380 h 1386"/>
              <a:gd name="T90" fmla="*/ 182 w 992"/>
              <a:gd name="T91" fmla="*/ 376 h 1386"/>
              <a:gd name="T92" fmla="*/ 210 w 992"/>
              <a:gd name="T93" fmla="*/ 324 h 1386"/>
              <a:gd name="T94" fmla="*/ 244 w 992"/>
              <a:gd name="T95" fmla="*/ 194 h 1386"/>
              <a:gd name="T96" fmla="*/ 300 w 992"/>
              <a:gd name="T97" fmla="*/ 88 h 1386"/>
              <a:gd name="T98" fmla="*/ 388 w 992"/>
              <a:gd name="T99" fmla="*/ 18 h 1386"/>
              <a:gd name="T100" fmla="*/ 516 w 992"/>
              <a:gd name="T101" fmla="*/ 0 h 1386"/>
              <a:gd name="T102" fmla="*/ 560 w 992"/>
              <a:gd name="T103" fmla="*/ 10 h 1386"/>
              <a:gd name="T104" fmla="*/ 620 w 992"/>
              <a:gd name="T105" fmla="*/ 50 h 1386"/>
              <a:gd name="T106" fmla="*/ 690 w 992"/>
              <a:gd name="T107" fmla="*/ 162 h 1386"/>
              <a:gd name="T108" fmla="*/ 770 w 992"/>
              <a:gd name="T109" fmla="*/ 302 h 1386"/>
              <a:gd name="T110" fmla="*/ 852 w 992"/>
              <a:gd name="T111" fmla="*/ 426 h 1386"/>
              <a:gd name="T112" fmla="*/ 828 w 992"/>
              <a:gd name="T113" fmla="*/ 390 h 1386"/>
              <a:gd name="T114" fmla="*/ 812 w 992"/>
              <a:gd name="T115" fmla="*/ 402 h 1386"/>
              <a:gd name="T116" fmla="*/ 850 w 992"/>
              <a:gd name="T117" fmla="*/ 472 h 1386"/>
              <a:gd name="T118" fmla="*/ 894 w 992"/>
              <a:gd name="T119" fmla="*/ 536 h 1386"/>
              <a:gd name="T120" fmla="*/ 900 w 992"/>
              <a:gd name="T121" fmla="*/ 606 h 1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92" h="1386">
                <a:moveTo>
                  <a:pt x="894" y="630"/>
                </a:moveTo>
                <a:lnTo>
                  <a:pt x="894" y="630"/>
                </a:lnTo>
                <a:lnTo>
                  <a:pt x="892" y="586"/>
                </a:lnTo>
                <a:lnTo>
                  <a:pt x="890" y="560"/>
                </a:lnTo>
                <a:lnTo>
                  <a:pt x="886" y="538"/>
                </a:lnTo>
                <a:lnTo>
                  <a:pt x="878" y="516"/>
                </a:lnTo>
                <a:lnTo>
                  <a:pt x="874" y="506"/>
                </a:lnTo>
                <a:lnTo>
                  <a:pt x="868" y="496"/>
                </a:lnTo>
                <a:lnTo>
                  <a:pt x="862" y="488"/>
                </a:lnTo>
                <a:lnTo>
                  <a:pt x="854" y="482"/>
                </a:lnTo>
                <a:lnTo>
                  <a:pt x="844" y="478"/>
                </a:lnTo>
                <a:lnTo>
                  <a:pt x="834" y="474"/>
                </a:lnTo>
                <a:lnTo>
                  <a:pt x="834" y="474"/>
                </a:lnTo>
                <a:lnTo>
                  <a:pt x="854" y="542"/>
                </a:lnTo>
                <a:lnTo>
                  <a:pt x="872" y="614"/>
                </a:lnTo>
                <a:lnTo>
                  <a:pt x="880" y="650"/>
                </a:lnTo>
                <a:lnTo>
                  <a:pt x="886" y="688"/>
                </a:lnTo>
                <a:lnTo>
                  <a:pt x="890" y="728"/>
                </a:lnTo>
                <a:lnTo>
                  <a:pt x="894" y="768"/>
                </a:lnTo>
                <a:lnTo>
                  <a:pt x="894" y="768"/>
                </a:lnTo>
                <a:lnTo>
                  <a:pt x="896" y="774"/>
                </a:lnTo>
                <a:lnTo>
                  <a:pt x="900" y="778"/>
                </a:lnTo>
                <a:lnTo>
                  <a:pt x="912" y="788"/>
                </a:lnTo>
                <a:lnTo>
                  <a:pt x="928" y="794"/>
                </a:lnTo>
                <a:lnTo>
                  <a:pt x="944" y="798"/>
                </a:lnTo>
                <a:lnTo>
                  <a:pt x="960" y="796"/>
                </a:lnTo>
                <a:lnTo>
                  <a:pt x="968" y="796"/>
                </a:lnTo>
                <a:lnTo>
                  <a:pt x="974" y="792"/>
                </a:lnTo>
                <a:lnTo>
                  <a:pt x="980" y="788"/>
                </a:lnTo>
                <a:lnTo>
                  <a:pt x="984" y="782"/>
                </a:lnTo>
                <a:lnTo>
                  <a:pt x="988" y="776"/>
                </a:lnTo>
                <a:lnTo>
                  <a:pt x="990" y="768"/>
                </a:lnTo>
                <a:lnTo>
                  <a:pt x="990" y="768"/>
                </a:lnTo>
                <a:lnTo>
                  <a:pt x="992" y="774"/>
                </a:lnTo>
                <a:lnTo>
                  <a:pt x="992" y="780"/>
                </a:lnTo>
                <a:lnTo>
                  <a:pt x="992" y="786"/>
                </a:lnTo>
                <a:lnTo>
                  <a:pt x="990" y="790"/>
                </a:lnTo>
                <a:lnTo>
                  <a:pt x="982" y="800"/>
                </a:lnTo>
                <a:lnTo>
                  <a:pt x="972" y="808"/>
                </a:lnTo>
                <a:lnTo>
                  <a:pt x="958" y="814"/>
                </a:lnTo>
                <a:lnTo>
                  <a:pt x="942" y="816"/>
                </a:lnTo>
                <a:lnTo>
                  <a:pt x="928" y="816"/>
                </a:lnTo>
                <a:lnTo>
                  <a:pt x="912" y="810"/>
                </a:lnTo>
                <a:lnTo>
                  <a:pt x="912" y="810"/>
                </a:lnTo>
                <a:lnTo>
                  <a:pt x="906" y="828"/>
                </a:lnTo>
                <a:lnTo>
                  <a:pt x="904" y="846"/>
                </a:lnTo>
                <a:lnTo>
                  <a:pt x="904" y="866"/>
                </a:lnTo>
                <a:lnTo>
                  <a:pt x="906" y="882"/>
                </a:lnTo>
                <a:lnTo>
                  <a:pt x="906" y="882"/>
                </a:lnTo>
                <a:lnTo>
                  <a:pt x="910" y="886"/>
                </a:lnTo>
                <a:lnTo>
                  <a:pt x="916" y="888"/>
                </a:lnTo>
                <a:lnTo>
                  <a:pt x="922" y="888"/>
                </a:lnTo>
                <a:lnTo>
                  <a:pt x="928" y="888"/>
                </a:lnTo>
                <a:lnTo>
                  <a:pt x="942" y="884"/>
                </a:lnTo>
                <a:lnTo>
                  <a:pt x="946" y="880"/>
                </a:lnTo>
                <a:lnTo>
                  <a:pt x="948" y="876"/>
                </a:lnTo>
                <a:lnTo>
                  <a:pt x="948" y="876"/>
                </a:lnTo>
                <a:lnTo>
                  <a:pt x="952" y="880"/>
                </a:lnTo>
                <a:lnTo>
                  <a:pt x="952" y="886"/>
                </a:lnTo>
                <a:lnTo>
                  <a:pt x="950" y="890"/>
                </a:lnTo>
                <a:lnTo>
                  <a:pt x="944" y="896"/>
                </a:lnTo>
                <a:lnTo>
                  <a:pt x="932" y="902"/>
                </a:lnTo>
                <a:lnTo>
                  <a:pt x="918" y="906"/>
                </a:lnTo>
                <a:lnTo>
                  <a:pt x="918" y="906"/>
                </a:lnTo>
                <a:lnTo>
                  <a:pt x="926" y="912"/>
                </a:lnTo>
                <a:lnTo>
                  <a:pt x="934" y="920"/>
                </a:lnTo>
                <a:lnTo>
                  <a:pt x="934" y="924"/>
                </a:lnTo>
                <a:lnTo>
                  <a:pt x="932" y="926"/>
                </a:lnTo>
                <a:lnTo>
                  <a:pt x="926" y="928"/>
                </a:lnTo>
                <a:lnTo>
                  <a:pt x="918" y="930"/>
                </a:lnTo>
                <a:lnTo>
                  <a:pt x="918" y="930"/>
                </a:lnTo>
                <a:lnTo>
                  <a:pt x="918" y="934"/>
                </a:lnTo>
                <a:lnTo>
                  <a:pt x="922" y="936"/>
                </a:lnTo>
                <a:lnTo>
                  <a:pt x="930" y="936"/>
                </a:lnTo>
                <a:lnTo>
                  <a:pt x="940" y="936"/>
                </a:lnTo>
                <a:lnTo>
                  <a:pt x="948" y="936"/>
                </a:lnTo>
                <a:lnTo>
                  <a:pt x="948" y="936"/>
                </a:lnTo>
                <a:lnTo>
                  <a:pt x="946" y="942"/>
                </a:lnTo>
                <a:lnTo>
                  <a:pt x="940" y="948"/>
                </a:lnTo>
                <a:lnTo>
                  <a:pt x="934" y="950"/>
                </a:lnTo>
                <a:lnTo>
                  <a:pt x="926" y="952"/>
                </a:lnTo>
                <a:lnTo>
                  <a:pt x="908" y="954"/>
                </a:lnTo>
                <a:lnTo>
                  <a:pt x="900" y="956"/>
                </a:lnTo>
                <a:lnTo>
                  <a:pt x="894" y="960"/>
                </a:lnTo>
                <a:lnTo>
                  <a:pt x="894" y="960"/>
                </a:lnTo>
                <a:lnTo>
                  <a:pt x="890" y="1010"/>
                </a:lnTo>
                <a:lnTo>
                  <a:pt x="886" y="1064"/>
                </a:lnTo>
                <a:lnTo>
                  <a:pt x="884" y="1118"/>
                </a:lnTo>
                <a:lnTo>
                  <a:pt x="886" y="1174"/>
                </a:lnTo>
                <a:lnTo>
                  <a:pt x="888" y="1230"/>
                </a:lnTo>
                <a:lnTo>
                  <a:pt x="892" y="1286"/>
                </a:lnTo>
                <a:lnTo>
                  <a:pt x="898" y="1338"/>
                </a:lnTo>
                <a:lnTo>
                  <a:pt x="906" y="1386"/>
                </a:lnTo>
                <a:lnTo>
                  <a:pt x="906" y="1386"/>
                </a:lnTo>
                <a:lnTo>
                  <a:pt x="6" y="1386"/>
                </a:lnTo>
                <a:lnTo>
                  <a:pt x="6" y="1386"/>
                </a:lnTo>
                <a:lnTo>
                  <a:pt x="12" y="1352"/>
                </a:lnTo>
                <a:lnTo>
                  <a:pt x="18" y="1314"/>
                </a:lnTo>
                <a:lnTo>
                  <a:pt x="22" y="1270"/>
                </a:lnTo>
                <a:lnTo>
                  <a:pt x="26" y="1224"/>
                </a:lnTo>
                <a:lnTo>
                  <a:pt x="28" y="1174"/>
                </a:lnTo>
                <a:lnTo>
                  <a:pt x="28" y="1124"/>
                </a:lnTo>
                <a:lnTo>
                  <a:pt x="28" y="1074"/>
                </a:lnTo>
                <a:lnTo>
                  <a:pt x="24" y="1026"/>
                </a:lnTo>
                <a:lnTo>
                  <a:pt x="24" y="1026"/>
                </a:lnTo>
                <a:lnTo>
                  <a:pt x="18" y="986"/>
                </a:lnTo>
                <a:lnTo>
                  <a:pt x="12" y="944"/>
                </a:lnTo>
                <a:lnTo>
                  <a:pt x="4" y="900"/>
                </a:lnTo>
                <a:lnTo>
                  <a:pt x="0" y="858"/>
                </a:lnTo>
                <a:lnTo>
                  <a:pt x="0" y="836"/>
                </a:lnTo>
                <a:lnTo>
                  <a:pt x="0" y="816"/>
                </a:lnTo>
                <a:lnTo>
                  <a:pt x="4" y="796"/>
                </a:lnTo>
                <a:lnTo>
                  <a:pt x="8" y="776"/>
                </a:lnTo>
                <a:lnTo>
                  <a:pt x="16" y="758"/>
                </a:lnTo>
                <a:lnTo>
                  <a:pt x="26" y="742"/>
                </a:lnTo>
                <a:lnTo>
                  <a:pt x="38" y="728"/>
                </a:lnTo>
                <a:lnTo>
                  <a:pt x="54" y="714"/>
                </a:lnTo>
                <a:lnTo>
                  <a:pt x="54" y="714"/>
                </a:lnTo>
                <a:lnTo>
                  <a:pt x="64" y="708"/>
                </a:lnTo>
                <a:lnTo>
                  <a:pt x="74" y="704"/>
                </a:lnTo>
                <a:lnTo>
                  <a:pt x="100" y="698"/>
                </a:lnTo>
                <a:lnTo>
                  <a:pt x="156" y="690"/>
                </a:lnTo>
                <a:lnTo>
                  <a:pt x="156" y="690"/>
                </a:lnTo>
                <a:lnTo>
                  <a:pt x="148" y="678"/>
                </a:lnTo>
                <a:lnTo>
                  <a:pt x="138" y="668"/>
                </a:lnTo>
                <a:lnTo>
                  <a:pt x="126" y="658"/>
                </a:lnTo>
                <a:lnTo>
                  <a:pt x="116" y="648"/>
                </a:lnTo>
                <a:lnTo>
                  <a:pt x="108" y="636"/>
                </a:lnTo>
                <a:lnTo>
                  <a:pt x="104" y="622"/>
                </a:lnTo>
                <a:lnTo>
                  <a:pt x="102" y="616"/>
                </a:lnTo>
                <a:lnTo>
                  <a:pt x="102" y="608"/>
                </a:lnTo>
                <a:lnTo>
                  <a:pt x="104" y="598"/>
                </a:lnTo>
                <a:lnTo>
                  <a:pt x="108" y="588"/>
                </a:lnTo>
                <a:lnTo>
                  <a:pt x="108" y="588"/>
                </a:lnTo>
                <a:lnTo>
                  <a:pt x="120" y="612"/>
                </a:lnTo>
                <a:lnTo>
                  <a:pt x="126" y="624"/>
                </a:lnTo>
                <a:lnTo>
                  <a:pt x="132" y="636"/>
                </a:lnTo>
                <a:lnTo>
                  <a:pt x="140" y="646"/>
                </a:lnTo>
                <a:lnTo>
                  <a:pt x="150" y="654"/>
                </a:lnTo>
                <a:lnTo>
                  <a:pt x="164" y="658"/>
                </a:lnTo>
                <a:lnTo>
                  <a:pt x="180" y="660"/>
                </a:lnTo>
                <a:lnTo>
                  <a:pt x="180" y="660"/>
                </a:lnTo>
                <a:lnTo>
                  <a:pt x="180" y="654"/>
                </a:lnTo>
                <a:lnTo>
                  <a:pt x="176" y="646"/>
                </a:lnTo>
                <a:lnTo>
                  <a:pt x="164" y="630"/>
                </a:lnTo>
                <a:lnTo>
                  <a:pt x="156" y="620"/>
                </a:lnTo>
                <a:lnTo>
                  <a:pt x="152" y="610"/>
                </a:lnTo>
                <a:lnTo>
                  <a:pt x="148" y="596"/>
                </a:lnTo>
                <a:lnTo>
                  <a:pt x="150" y="582"/>
                </a:lnTo>
                <a:lnTo>
                  <a:pt x="150" y="582"/>
                </a:lnTo>
                <a:lnTo>
                  <a:pt x="156" y="586"/>
                </a:lnTo>
                <a:lnTo>
                  <a:pt x="160" y="592"/>
                </a:lnTo>
                <a:lnTo>
                  <a:pt x="166" y="608"/>
                </a:lnTo>
                <a:lnTo>
                  <a:pt x="172" y="622"/>
                </a:lnTo>
                <a:lnTo>
                  <a:pt x="176" y="630"/>
                </a:lnTo>
                <a:lnTo>
                  <a:pt x="180" y="636"/>
                </a:lnTo>
                <a:lnTo>
                  <a:pt x="180" y="636"/>
                </a:lnTo>
                <a:lnTo>
                  <a:pt x="186" y="628"/>
                </a:lnTo>
                <a:lnTo>
                  <a:pt x="188" y="628"/>
                </a:lnTo>
                <a:lnTo>
                  <a:pt x="190" y="628"/>
                </a:lnTo>
                <a:lnTo>
                  <a:pt x="196" y="630"/>
                </a:lnTo>
                <a:lnTo>
                  <a:pt x="204" y="636"/>
                </a:lnTo>
                <a:lnTo>
                  <a:pt x="204" y="636"/>
                </a:lnTo>
                <a:lnTo>
                  <a:pt x="196" y="620"/>
                </a:lnTo>
                <a:lnTo>
                  <a:pt x="192" y="604"/>
                </a:lnTo>
                <a:lnTo>
                  <a:pt x="188" y="588"/>
                </a:lnTo>
                <a:lnTo>
                  <a:pt x="186" y="572"/>
                </a:lnTo>
                <a:lnTo>
                  <a:pt x="184" y="554"/>
                </a:lnTo>
                <a:lnTo>
                  <a:pt x="186" y="536"/>
                </a:lnTo>
                <a:lnTo>
                  <a:pt x="188" y="498"/>
                </a:lnTo>
                <a:lnTo>
                  <a:pt x="194" y="460"/>
                </a:lnTo>
                <a:lnTo>
                  <a:pt x="202" y="420"/>
                </a:lnTo>
                <a:lnTo>
                  <a:pt x="210" y="380"/>
                </a:lnTo>
                <a:lnTo>
                  <a:pt x="216" y="342"/>
                </a:lnTo>
                <a:lnTo>
                  <a:pt x="216" y="342"/>
                </a:lnTo>
                <a:lnTo>
                  <a:pt x="208" y="344"/>
                </a:lnTo>
                <a:lnTo>
                  <a:pt x="202" y="350"/>
                </a:lnTo>
                <a:lnTo>
                  <a:pt x="198" y="356"/>
                </a:lnTo>
                <a:lnTo>
                  <a:pt x="196" y="364"/>
                </a:lnTo>
                <a:lnTo>
                  <a:pt x="190" y="380"/>
                </a:lnTo>
                <a:lnTo>
                  <a:pt x="186" y="396"/>
                </a:lnTo>
                <a:lnTo>
                  <a:pt x="186" y="396"/>
                </a:lnTo>
                <a:lnTo>
                  <a:pt x="182" y="386"/>
                </a:lnTo>
                <a:lnTo>
                  <a:pt x="182" y="376"/>
                </a:lnTo>
                <a:lnTo>
                  <a:pt x="184" y="366"/>
                </a:lnTo>
                <a:lnTo>
                  <a:pt x="188" y="356"/>
                </a:lnTo>
                <a:lnTo>
                  <a:pt x="198" y="338"/>
                </a:lnTo>
                <a:lnTo>
                  <a:pt x="210" y="324"/>
                </a:lnTo>
                <a:lnTo>
                  <a:pt x="210" y="324"/>
                </a:lnTo>
                <a:lnTo>
                  <a:pt x="224" y="258"/>
                </a:lnTo>
                <a:lnTo>
                  <a:pt x="234" y="226"/>
                </a:lnTo>
                <a:lnTo>
                  <a:pt x="244" y="194"/>
                </a:lnTo>
                <a:lnTo>
                  <a:pt x="256" y="166"/>
                </a:lnTo>
                <a:lnTo>
                  <a:pt x="270" y="138"/>
                </a:lnTo>
                <a:lnTo>
                  <a:pt x="284" y="112"/>
                </a:lnTo>
                <a:lnTo>
                  <a:pt x="300" y="88"/>
                </a:lnTo>
                <a:lnTo>
                  <a:pt x="320" y="68"/>
                </a:lnTo>
                <a:lnTo>
                  <a:pt x="340" y="48"/>
                </a:lnTo>
                <a:lnTo>
                  <a:pt x="364" y="32"/>
                </a:lnTo>
                <a:lnTo>
                  <a:pt x="388" y="18"/>
                </a:lnTo>
                <a:lnTo>
                  <a:pt x="416" y="8"/>
                </a:lnTo>
                <a:lnTo>
                  <a:pt x="446" y="2"/>
                </a:lnTo>
                <a:lnTo>
                  <a:pt x="480" y="0"/>
                </a:lnTo>
                <a:lnTo>
                  <a:pt x="516" y="0"/>
                </a:lnTo>
                <a:lnTo>
                  <a:pt x="516" y="0"/>
                </a:lnTo>
                <a:lnTo>
                  <a:pt x="532" y="2"/>
                </a:lnTo>
                <a:lnTo>
                  <a:pt x="546" y="6"/>
                </a:lnTo>
                <a:lnTo>
                  <a:pt x="560" y="10"/>
                </a:lnTo>
                <a:lnTo>
                  <a:pt x="574" y="16"/>
                </a:lnTo>
                <a:lnTo>
                  <a:pt x="586" y="22"/>
                </a:lnTo>
                <a:lnTo>
                  <a:pt x="598" y="30"/>
                </a:lnTo>
                <a:lnTo>
                  <a:pt x="620" y="50"/>
                </a:lnTo>
                <a:lnTo>
                  <a:pt x="640" y="74"/>
                </a:lnTo>
                <a:lnTo>
                  <a:pt x="658" y="100"/>
                </a:lnTo>
                <a:lnTo>
                  <a:pt x="674" y="130"/>
                </a:lnTo>
                <a:lnTo>
                  <a:pt x="690" y="162"/>
                </a:lnTo>
                <a:lnTo>
                  <a:pt x="690" y="162"/>
                </a:lnTo>
                <a:lnTo>
                  <a:pt x="708" y="200"/>
                </a:lnTo>
                <a:lnTo>
                  <a:pt x="728" y="234"/>
                </a:lnTo>
                <a:lnTo>
                  <a:pt x="770" y="302"/>
                </a:lnTo>
                <a:lnTo>
                  <a:pt x="812" y="366"/>
                </a:lnTo>
                <a:lnTo>
                  <a:pt x="858" y="432"/>
                </a:lnTo>
                <a:lnTo>
                  <a:pt x="858" y="432"/>
                </a:lnTo>
                <a:lnTo>
                  <a:pt x="852" y="426"/>
                </a:lnTo>
                <a:lnTo>
                  <a:pt x="846" y="420"/>
                </a:lnTo>
                <a:lnTo>
                  <a:pt x="838" y="404"/>
                </a:lnTo>
                <a:lnTo>
                  <a:pt x="832" y="398"/>
                </a:lnTo>
                <a:lnTo>
                  <a:pt x="828" y="390"/>
                </a:lnTo>
                <a:lnTo>
                  <a:pt x="820" y="386"/>
                </a:lnTo>
                <a:lnTo>
                  <a:pt x="810" y="384"/>
                </a:lnTo>
                <a:lnTo>
                  <a:pt x="810" y="384"/>
                </a:lnTo>
                <a:lnTo>
                  <a:pt x="812" y="402"/>
                </a:lnTo>
                <a:lnTo>
                  <a:pt x="816" y="418"/>
                </a:lnTo>
                <a:lnTo>
                  <a:pt x="822" y="434"/>
                </a:lnTo>
                <a:lnTo>
                  <a:pt x="830" y="448"/>
                </a:lnTo>
                <a:lnTo>
                  <a:pt x="850" y="472"/>
                </a:lnTo>
                <a:lnTo>
                  <a:pt x="870" y="496"/>
                </a:lnTo>
                <a:lnTo>
                  <a:pt x="880" y="510"/>
                </a:lnTo>
                <a:lnTo>
                  <a:pt x="888" y="522"/>
                </a:lnTo>
                <a:lnTo>
                  <a:pt x="894" y="536"/>
                </a:lnTo>
                <a:lnTo>
                  <a:pt x="900" y="552"/>
                </a:lnTo>
                <a:lnTo>
                  <a:pt x="902" y="568"/>
                </a:lnTo>
                <a:lnTo>
                  <a:pt x="904" y="586"/>
                </a:lnTo>
                <a:lnTo>
                  <a:pt x="900" y="606"/>
                </a:lnTo>
                <a:lnTo>
                  <a:pt x="894" y="630"/>
                </a:lnTo>
                <a:lnTo>
                  <a:pt x="894" y="63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58C4EF16-0922-4E77-BCDB-9CD4166B2C49}"/>
              </a:ext>
            </a:extLst>
          </p:cNvPr>
          <p:cNvGrpSpPr/>
          <p:nvPr/>
        </p:nvGrpSpPr>
        <p:grpSpPr>
          <a:xfrm rot="20265000">
            <a:off x="9862940" y="2729385"/>
            <a:ext cx="318899" cy="830676"/>
            <a:chOff x="1749565" y="4488836"/>
            <a:chExt cx="575833" cy="619397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02097329-709D-4A5B-80AE-E2F1F3AEBC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1395" y="4488836"/>
              <a:ext cx="374003" cy="374266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C9D70904-AB30-4969-A6CC-A526C1BD3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49565" y="4886474"/>
              <a:ext cx="221604" cy="221759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C6680B4-F44D-402D-B9D9-8A3C71A276CD}"/>
              </a:ext>
            </a:extLst>
          </p:cNvPr>
          <p:cNvGrpSpPr/>
          <p:nvPr/>
        </p:nvGrpSpPr>
        <p:grpSpPr>
          <a:xfrm rot="2174796">
            <a:off x="10214597" y="4284922"/>
            <a:ext cx="286061" cy="826623"/>
            <a:chOff x="1785722" y="4512221"/>
            <a:chExt cx="516538" cy="616378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2DF3628-242E-4FD3-8278-09B882B9A2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8256" y="4512221"/>
              <a:ext cx="374004" cy="374266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7A1EE47A-EC33-4FE4-91C4-AF703E7DFD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85722" y="4906840"/>
              <a:ext cx="221603" cy="221759"/>
            </a:xfrm>
            <a:prstGeom prst="ellipse">
              <a:avLst/>
            </a:prstGeom>
            <a:grpFill/>
            <a:ln w="190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4B0C6CEC-CA47-4754-B82B-50D79E6AB927}"/>
              </a:ext>
            </a:extLst>
          </p:cNvPr>
          <p:cNvGrpSpPr/>
          <p:nvPr/>
        </p:nvGrpSpPr>
        <p:grpSpPr>
          <a:xfrm>
            <a:off x="9998714" y="3227926"/>
            <a:ext cx="1783082" cy="1213161"/>
            <a:chOff x="10220162" y="2773016"/>
            <a:chExt cx="1783082" cy="1213161"/>
          </a:xfrm>
        </p:grpSpPr>
        <p:sp>
          <p:nvSpPr>
            <p:cNvPr id="158" name="Cloud 157">
              <a:extLst>
                <a:ext uri="{FF2B5EF4-FFF2-40B4-BE49-F238E27FC236}">
                  <a16:creationId xmlns:a16="http://schemas.microsoft.com/office/drawing/2014/main" id="{1843D0C7-1953-452C-B21C-42D8E5582451}"/>
                </a:ext>
              </a:extLst>
            </p:cNvPr>
            <p:cNvSpPr/>
            <p:nvPr/>
          </p:nvSpPr>
          <p:spPr>
            <a:xfrm rot="253504">
              <a:off x="10220162" y="2773016"/>
              <a:ext cx="1740757" cy="1213161"/>
            </a:xfrm>
            <a:prstGeom prst="cloud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600"/>
                </a:spcAft>
              </a:pPr>
              <a:endParaRPr lang="en-US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EE89E9C0-5CAF-4267-84A8-E22F31566B11}"/>
                </a:ext>
              </a:extLst>
            </p:cNvPr>
            <p:cNvSpPr/>
            <p:nvPr/>
          </p:nvSpPr>
          <p:spPr>
            <a:xfrm>
              <a:off x="10366854" y="2944761"/>
              <a:ext cx="163639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>
                <a:spcAft>
                  <a:spcPts val="800"/>
                </a:spcAft>
              </a:pPr>
              <a:r>
                <a:rPr lang="en-US" sz="140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o need to wait on  IT to get me access to data</a:t>
              </a:r>
            </a:p>
          </p:txBody>
        </p:sp>
      </p:grpSp>
      <p:sp>
        <p:nvSpPr>
          <p:cNvPr id="169" name="Oval 168">
            <a:extLst>
              <a:ext uri="{FF2B5EF4-FFF2-40B4-BE49-F238E27FC236}">
                <a16:creationId xmlns:a16="http://schemas.microsoft.com/office/drawing/2014/main" id="{0CF1B775-0E2E-4509-9FD3-ED11B862689E}"/>
              </a:ext>
            </a:extLst>
          </p:cNvPr>
          <p:cNvSpPr>
            <a:spLocks noChangeAspect="1"/>
          </p:cNvSpPr>
          <p:nvPr/>
        </p:nvSpPr>
        <p:spPr>
          <a:xfrm rot="17740696">
            <a:off x="10041301" y="5131623"/>
            <a:ext cx="64795" cy="157018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50D6413B-0F6B-4A84-B3A9-3447ECFE130B}"/>
              </a:ext>
            </a:extLst>
          </p:cNvPr>
          <p:cNvSpPr>
            <a:spLocks noChangeAspect="1"/>
          </p:cNvSpPr>
          <p:nvPr/>
        </p:nvSpPr>
        <p:spPr>
          <a:xfrm rot="5942593">
            <a:off x="10259005" y="5209946"/>
            <a:ext cx="122725" cy="2974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Rectangle 2">
            <a:extLst>
              <a:ext uri="{FF2B5EF4-FFF2-40B4-BE49-F238E27FC236}">
                <a16:creationId xmlns:a16="http://schemas.microsoft.com/office/drawing/2014/main" id="{8210B1D1-16C4-4F1B-B604-3A3ED0B437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92" y="1270861"/>
            <a:ext cx="3501556" cy="5587139"/>
          </a:xfrm>
          <a:prstGeom prst="rect">
            <a:avLst/>
          </a:prstGeom>
          <a:solidFill>
            <a:srgbClr val="F2F2F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E2726FD-20DD-417B-81C6-912FBFA9304F}"/>
              </a:ext>
            </a:extLst>
          </p:cNvPr>
          <p:cNvSpPr txBox="1"/>
          <p:nvPr/>
        </p:nvSpPr>
        <p:spPr>
          <a:xfrm>
            <a:off x="989613" y="2316773"/>
            <a:ext cx="1537853" cy="32764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999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Wide range of</a:t>
            </a:r>
            <a:br>
              <a:rPr lang="en-US" sz="1999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999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nalytic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B0E28D1-52B9-4C7F-92CE-83C7A7487E6C}"/>
              </a:ext>
            </a:extLst>
          </p:cNvPr>
          <p:cNvCxnSpPr/>
          <p:nvPr/>
        </p:nvCxnSpPr>
        <p:spPr>
          <a:xfrm>
            <a:off x="666274" y="2969616"/>
            <a:ext cx="2207206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CCA5AD3F-FA50-432B-A3ED-2235AE5960AD}"/>
              </a:ext>
            </a:extLst>
          </p:cNvPr>
          <p:cNvSpPr/>
          <p:nvPr/>
        </p:nvSpPr>
        <p:spPr>
          <a:xfrm>
            <a:off x="1568657" y="1777464"/>
            <a:ext cx="379764" cy="3797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Freeform 4934">
            <a:extLst>
              <a:ext uri="{FF2B5EF4-FFF2-40B4-BE49-F238E27FC236}">
                <a16:creationId xmlns:a16="http://schemas.microsoft.com/office/drawing/2014/main" id="{6A093ADB-B0BC-4A78-A79F-D7B23229F961}"/>
              </a:ext>
            </a:extLst>
          </p:cNvPr>
          <p:cNvSpPr>
            <a:spLocks noEditPoints="1"/>
          </p:cNvSpPr>
          <p:nvPr/>
        </p:nvSpPr>
        <p:spPr bwMode="auto">
          <a:xfrm>
            <a:off x="1652358" y="1829034"/>
            <a:ext cx="212359" cy="266467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0707121-961D-49EC-8CBC-FDBA49C52D12}"/>
              </a:ext>
            </a:extLst>
          </p:cNvPr>
          <p:cNvSpPr/>
          <p:nvPr/>
        </p:nvSpPr>
        <p:spPr>
          <a:xfrm>
            <a:off x="263319" y="3190195"/>
            <a:ext cx="3045872" cy="30858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5708" rtlCol="0" anchor="ctr"/>
          <a:lstStyle/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ritical and Mission Critical</a:t>
            </a:r>
            <a:endParaRPr lang="en-US" sz="200" b="1" i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grammatic and Exploratory</a:t>
            </a:r>
          </a:p>
          <a:p>
            <a:pPr marL="228531" indent="-228531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gration and Transformation</a:t>
            </a: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isting Services and New Services</a:t>
            </a:r>
          </a:p>
          <a:p>
            <a:pPr marL="228531" indent="-228531" defTabSz="914126">
              <a:lnSpc>
                <a:spcPts val="1899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rect and Indirect Monetization</a:t>
            </a:r>
          </a:p>
        </p:txBody>
      </p:sp>
    </p:spTree>
    <p:extLst>
      <p:ext uri="{BB962C8B-B14F-4D97-AF65-F5344CB8AC3E}">
        <p14:creationId xmlns:p14="http://schemas.microsoft.com/office/powerpoint/2010/main" val="3228629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FA7E685-6C29-4424-AA92-A1F165F7C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950">
                <a:latin typeface="Arial"/>
                <a:cs typeface="Arial"/>
              </a:rPr>
              <a:t>Data Platform 2.0 Business Capabilities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1CC762-5536-4117-9F35-3016AA45701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 sz="2000"/>
              <a:t>Our business users will come to the Data Platform to find, access and use strategic data  across LO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CE521B-7C3C-4B6A-9C17-3D7549E30EDB}"/>
              </a:ext>
            </a:extLst>
          </p:cNvPr>
          <p:cNvSpPr/>
          <p:nvPr/>
        </p:nvSpPr>
        <p:spPr>
          <a:xfrm>
            <a:off x="859809" y="1591663"/>
            <a:ext cx="10493402" cy="4631713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600" kern="0">
                <a:solidFill>
                  <a:srgbClr val="000000"/>
                </a:solidFill>
                <a:latin typeface="Domaine Display Bold"/>
              </a:rPr>
              <a:t>Data Platform 2.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92604D-6638-40EB-88B5-85EF86BEE268}"/>
              </a:ext>
            </a:extLst>
          </p:cNvPr>
          <p:cNvSpPr/>
          <p:nvPr/>
        </p:nvSpPr>
        <p:spPr>
          <a:xfrm>
            <a:off x="1146413" y="2030756"/>
            <a:ext cx="9965504" cy="40249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600" b="1" kern="0">
                <a:solidFill>
                  <a:schemeClr val="bg1"/>
                </a:solidFill>
                <a:latin typeface="Constantia" panose="02030602050306030303" pitchFamily="18" charset="0"/>
              </a:rPr>
              <a:t>Business Capabilit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0923A6-1A20-4ACF-BD7F-D30B6305ABA6}"/>
              </a:ext>
            </a:extLst>
          </p:cNvPr>
          <p:cNvSpPr/>
          <p:nvPr/>
        </p:nvSpPr>
        <p:spPr>
          <a:xfrm>
            <a:off x="1422129" y="2437385"/>
            <a:ext cx="1979501" cy="304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400" kern="0">
                <a:solidFill>
                  <a:srgbClr val="000000"/>
                </a:solidFill>
              </a:rPr>
              <a:t>Content</a:t>
            </a:r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6CF343-A591-4031-B9A8-29B053CD4FC3}"/>
              </a:ext>
            </a:extLst>
          </p:cNvPr>
          <p:cNvSpPr/>
          <p:nvPr/>
        </p:nvSpPr>
        <p:spPr>
          <a:xfrm>
            <a:off x="1553109" y="3249756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Providers</a:t>
            </a:r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423B2D-D016-45E9-96C1-66995A75E553}"/>
              </a:ext>
            </a:extLst>
          </p:cNvPr>
          <p:cNvSpPr/>
          <p:nvPr/>
        </p:nvSpPr>
        <p:spPr>
          <a:xfrm>
            <a:off x="1553109" y="3675102"/>
            <a:ext cx="1668335" cy="4310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Claims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B10894-807E-42C3-AD4E-A42F00FB5DFD}"/>
              </a:ext>
            </a:extLst>
          </p:cNvPr>
          <p:cNvSpPr/>
          <p:nvPr/>
        </p:nvSpPr>
        <p:spPr>
          <a:xfrm>
            <a:off x="1553109" y="2824410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Memb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07305C-39EC-46CD-B770-96B1180E09C0}"/>
              </a:ext>
            </a:extLst>
          </p:cNvPr>
          <p:cNvSpPr/>
          <p:nvPr/>
        </p:nvSpPr>
        <p:spPr>
          <a:xfrm>
            <a:off x="1553108" y="4216548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Drug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E35344D-084B-409A-9D83-B3B507E9D263}"/>
              </a:ext>
            </a:extLst>
          </p:cNvPr>
          <p:cNvSpPr/>
          <p:nvPr/>
        </p:nvSpPr>
        <p:spPr>
          <a:xfrm>
            <a:off x="1553109" y="4641894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Accou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B1B36AF-D0F1-4C84-9D30-72BAB00FD00B}"/>
              </a:ext>
            </a:extLst>
          </p:cNvPr>
          <p:cNvSpPr/>
          <p:nvPr/>
        </p:nvSpPr>
        <p:spPr>
          <a:xfrm>
            <a:off x="1553109" y="5087512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Product/Benefi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B40C6EF-0213-4DB3-ACD8-C517C2878A32}"/>
              </a:ext>
            </a:extLst>
          </p:cNvPr>
          <p:cNvSpPr/>
          <p:nvPr/>
        </p:nvSpPr>
        <p:spPr>
          <a:xfrm>
            <a:off x="6372269" y="2446197"/>
            <a:ext cx="1979501" cy="304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400" kern="0">
                <a:solidFill>
                  <a:srgbClr val="000000"/>
                </a:solidFill>
              </a:rPr>
              <a:t>Acce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1A094D8-34E2-4350-B2DB-E90683BCB0CF}"/>
              </a:ext>
            </a:extLst>
          </p:cNvPr>
          <p:cNvSpPr/>
          <p:nvPr/>
        </p:nvSpPr>
        <p:spPr>
          <a:xfrm>
            <a:off x="6513232" y="3295770"/>
            <a:ext cx="1668335" cy="576253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Connect different analytic data sourc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284DC81-C33E-41F1-86C0-67C1FB595A72}"/>
              </a:ext>
            </a:extLst>
          </p:cNvPr>
          <p:cNvSpPr/>
          <p:nvPr/>
        </p:nvSpPr>
        <p:spPr>
          <a:xfrm>
            <a:off x="6517243" y="4058455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Data as a Servi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1DB7D57-861F-4C4C-BCA2-45D7A2C4119F}"/>
              </a:ext>
            </a:extLst>
          </p:cNvPr>
          <p:cNvSpPr/>
          <p:nvPr/>
        </p:nvSpPr>
        <p:spPr>
          <a:xfrm>
            <a:off x="6499366" y="2794430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Query data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0363907-E0CE-4633-9A3F-7A2E6262C0A2}"/>
              </a:ext>
            </a:extLst>
          </p:cNvPr>
          <p:cNvSpPr/>
          <p:nvPr/>
        </p:nvSpPr>
        <p:spPr>
          <a:xfrm>
            <a:off x="6513232" y="4559795"/>
            <a:ext cx="1668335" cy="341285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Push or Pull bulk dat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A5FC4DB-DB61-47B7-B99E-9B1506CB00C6}"/>
              </a:ext>
            </a:extLst>
          </p:cNvPr>
          <p:cNvSpPr/>
          <p:nvPr/>
        </p:nvSpPr>
        <p:spPr>
          <a:xfrm>
            <a:off x="8790370" y="2437385"/>
            <a:ext cx="1979501" cy="304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400" kern="0">
                <a:solidFill>
                  <a:srgbClr val="000000"/>
                </a:solidFill>
              </a:rPr>
              <a:t>Us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5A28867-2CE2-45C2-8F9A-697C1B46B8A9}"/>
              </a:ext>
            </a:extLst>
          </p:cNvPr>
          <p:cNvSpPr/>
          <p:nvPr/>
        </p:nvSpPr>
        <p:spPr>
          <a:xfrm>
            <a:off x="8943295" y="3341220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Analytical Model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050FAF-AB66-406C-A20B-57F3052EAB12}"/>
              </a:ext>
            </a:extLst>
          </p:cNvPr>
          <p:cNvSpPr/>
          <p:nvPr/>
        </p:nvSpPr>
        <p:spPr>
          <a:xfrm>
            <a:off x="8943295" y="3744378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Machine Learning /AI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80D8FFC-5880-4BBC-8A68-7DD5FC68FE6D}"/>
              </a:ext>
            </a:extLst>
          </p:cNvPr>
          <p:cNvSpPr/>
          <p:nvPr/>
        </p:nvSpPr>
        <p:spPr>
          <a:xfrm>
            <a:off x="8943295" y="2804403"/>
            <a:ext cx="1668335" cy="448567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Reporting and Dashboard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7A481BE-1F28-4B2B-B3CB-63CB23A1699B}"/>
              </a:ext>
            </a:extLst>
          </p:cNvPr>
          <p:cNvSpPr/>
          <p:nvPr/>
        </p:nvSpPr>
        <p:spPr>
          <a:xfrm>
            <a:off x="8943295" y="4147536"/>
            <a:ext cx="1668335" cy="448566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Analytics – predictive &amp; prescriptive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B83A372-9A33-4501-9E6B-DEAEC15513BF}"/>
              </a:ext>
            </a:extLst>
          </p:cNvPr>
          <p:cNvSpPr/>
          <p:nvPr/>
        </p:nvSpPr>
        <p:spPr>
          <a:xfrm>
            <a:off x="6513233" y="5087512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Self-service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52A764C-AEBD-4767-84E6-E68B116D84EE}"/>
              </a:ext>
            </a:extLst>
          </p:cNvPr>
          <p:cNvSpPr/>
          <p:nvPr/>
        </p:nvSpPr>
        <p:spPr>
          <a:xfrm>
            <a:off x="8943295" y="4684352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Semantic Analysi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67F33E4-AB4D-4221-BD81-B08D85E4557F}"/>
              </a:ext>
            </a:extLst>
          </p:cNvPr>
          <p:cNvSpPr/>
          <p:nvPr/>
        </p:nvSpPr>
        <p:spPr>
          <a:xfrm>
            <a:off x="8943295" y="5087512"/>
            <a:ext cx="1668335" cy="314908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Machine Learning/AI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6891EA6-C463-4170-A641-82DB605BD376}"/>
              </a:ext>
            </a:extLst>
          </p:cNvPr>
          <p:cNvSpPr/>
          <p:nvPr/>
        </p:nvSpPr>
        <p:spPr>
          <a:xfrm>
            <a:off x="3840229" y="2446197"/>
            <a:ext cx="2093441" cy="304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400" kern="0">
                <a:solidFill>
                  <a:srgbClr val="000000"/>
                </a:solidFill>
              </a:rPr>
              <a:t>Browse &amp; Understan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1FE4B0-5A1F-4F87-81F8-FE79E869BA7A}"/>
              </a:ext>
            </a:extLst>
          </p:cNvPr>
          <p:cNvSpPr/>
          <p:nvPr/>
        </p:nvSpPr>
        <p:spPr>
          <a:xfrm>
            <a:off x="4042116" y="2794432"/>
            <a:ext cx="1668335" cy="524437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Catalog for browsing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2E07595-7061-48FD-8F0B-304872AD2878}"/>
              </a:ext>
            </a:extLst>
          </p:cNvPr>
          <p:cNvSpPr/>
          <p:nvPr/>
        </p:nvSpPr>
        <p:spPr>
          <a:xfrm>
            <a:off x="4042116" y="3417878"/>
            <a:ext cx="1668335" cy="421492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Search and Explor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E83B92-6E08-4CBE-B48F-F98D04E1D7D9}"/>
              </a:ext>
            </a:extLst>
          </p:cNvPr>
          <p:cNvSpPr/>
          <p:nvPr/>
        </p:nvSpPr>
        <p:spPr>
          <a:xfrm>
            <a:off x="4042116" y="3938379"/>
            <a:ext cx="1668335" cy="682516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Comment and Feedback on data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55C45B5-9EAE-4C6B-84B3-BED0D246BFBA}"/>
              </a:ext>
            </a:extLst>
          </p:cNvPr>
          <p:cNvSpPr/>
          <p:nvPr/>
        </p:nvSpPr>
        <p:spPr>
          <a:xfrm>
            <a:off x="4042116" y="4719904"/>
            <a:ext cx="1668335" cy="682516"/>
          </a:xfrm>
          <a:prstGeom prst="rect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  <a:reflection stA="45000" endPos="20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/>
            <a:r>
              <a:rPr lang="en-US" sz="1100" kern="0">
                <a:solidFill>
                  <a:schemeClr val="bg1"/>
                </a:solidFill>
              </a:rPr>
              <a:t>Govern and manage  data descriptions and quality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716BCFE-6C70-4FBD-9DD1-26BBAD42FA3D}"/>
              </a:ext>
            </a:extLst>
          </p:cNvPr>
          <p:cNvSpPr/>
          <p:nvPr/>
        </p:nvSpPr>
        <p:spPr>
          <a:xfrm>
            <a:off x="1422129" y="5651186"/>
            <a:ext cx="9347742" cy="3344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254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/>
            <a:r>
              <a:rPr lang="en-US" sz="1400" kern="0">
                <a:solidFill>
                  <a:srgbClr val="000000"/>
                </a:solidFill>
              </a:rPr>
              <a:t>Data protection and controls are in place</a:t>
            </a:r>
          </a:p>
        </p:txBody>
      </p:sp>
    </p:spTree>
    <p:extLst>
      <p:ext uri="{BB962C8B-B14F-4D97-AF65-F5344CB8AC3E}">
        <p14:creationId xmlns:p14="http://schemas.microsoft.com/office/powerpoint/2010/main" val="126064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9C3D2C91-278A-4571-9B37-3AE42286B9A0}"/>
              </a:ext>
            </a:extLst>
          </p:cNvPr>
          <p:cNvSpPr/>
          <p:nvPr/>
        </p:nvSpPr>
        <p:spPr>
          <a:xfrm>
            <a:off x="8809937" y="1779866"/>
            <a:ext cx="2835677" cy="445537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7E905C-9117-407B-876A-B94255372A4F}"/>
              </a:ext>
            </a:extLst>
          </p:cNvPr>
          <p:cNvSpPr/>
          <p:nvPr/>
        </p:nvSpPr>
        <p:spPr>
          <a:xfrm>
            <a:off x="3087864" y="4549637"/>
            <a:ext cx="5946923" cy="168560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694451"/>
          </a:xfrm>
        </p:spPr>
        <p:txBody>
          <a:bodyPr/>
          <a:lstStyle/>
          <a:p>
            <a:r>
              <a:rPr lang="en-US" sz="2000">
                <a:cs typeface="Arial" panose="020B0604020202020204" pitchFamily="34" charset="0"/>
                <a:sym typeface="Arial" panose="020B0604020202020204" pitchFamily="34" charset="0"/>
              </a:rPr>
              <a:t>The Data Platform 2.0 will provide enhanced data ingest, pipeline and consumption services across the ecosystem.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H="1">
            <a:off x="794586" y="1568910"/>
            <a:ext cx="10715344" cy="22667"/>
          </a:xfrm>
          <a:prstGeom prst="line">
            <a:avLst/>
          </a:prstGeom>
          <a:ln w="1905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725728" y="1395786"/>
            <a:ext cx="2122697" cy="346249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500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Future State</a:t>
            </a:r>
          </a:p>
        </p:txBody>
      </p:sp>
      <p:sp>
        <p:nvSpPr>
          <p:cNvPr id="16" name="Rounded Rectangle 56">
            <a:extLst>
              <a:ext uri="{FF2B5EF4-FFF2-40B4-BE49-F238E27FC236}">
                <a16:creationId xmlns:a16="http://schemas.microsoft.com/office/drawing/2014/main" id="{2E329A21-D16F-4E16-8FDE-0C71A72F01E3}"/>
              </a:ext>
            </a:extLst>
          </p:cNvPr>
          <p:cNvSpPr/>
          <p:nvPr/>
        </p:nvSpPr>
        <p:spPr>
          <a:xfrm>
            <a:off x="114621" y="2429166"/>
            <a:ext cx="997709" cy="3893782"/>
          </a:xfrm>
          <a:prstGeom prst="roundRect">
            <a:avLst>
              <a:gd name="adj" fmla="val 3656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ea typeface="IBM Plex Sans SemiBold" charset="0"/>
                <a:cs typeface="IBM Plex Sans SemiBold" charset="0"/>
              </a:rPr>
              <a:t>SOURCE DATA</a:t>
            </a:r>
          </a:p>
        </p:txBody>
      </p:sp>
      <p:sp>
        <p:nvSpPr>
          <p:cNvPr id="26" name="Rounded Rectangle 35">
            <a:extLst>
              <a:ext uri="{FF2B5EF4-FFF2-40B4-BE49-F238E27FC236}">
                <a16:creationId xmlns:a16="http://schemas.microsoft.com/office/drawing/2014/main" id="{2955BEF4-30D3-46F4-81A6-54236AE00F33}"/>
              </a:ext>
            </a:extLst>
          </p:cNvPr>
          <p:cNvSpPr/>
          <p:nvPr/>
        </p:nvSpPr>
        <p:spPr>
          <a:xfrm>
            <a:off x="202927" y="4233698"/>
            <a:ext cx="847031" cy="471834"/>
          </a:xfrm>
          <a:prstGeom prst="roundRect">
            <a:avLst>
              <a:gd name="adj" fmla="val 88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Operational Data</a:t>
            </a:r>
          </a:p>
        </p:txBody>
      </p:sp>
      <p:sp>
        <p:nvSpPr>
          <p:cNvPr id="27" name="Rounded Rectangle 36">
            <a:extLst>
              <a:ext uri="{FF2B5EF4-FFF2-40B4-BE49-F238E27FC236}">
                <a16:creationId xmlns:a16="http://schemas.microsoft.com/office/drawing/2014/main" id="{585EACCE-4800-4917-B636-467950E081C6}"/>
              </a:ext>
            </a:extLst>
          </p:cNvPr>
          <p:cNvSpPr/>
          <p:nvPr/>
        </p:nvSpPr>
        <p:spPr>
          <a:xfrm>
            <a:off x="202927" y="3564721"/>
            <a:ext cx="847031" cy="393389"/>
          </a:xfrm>
          <a:prstGeom prst="roundRect">
            <a:avLst>
              <a:gd name="adj" fmla="val 88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Third-Party </a:t>
            </a:r>
            <a:b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</a:br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Data</a:t>
            </a:r>
          </a:p>
        </p:txBody>
      </p:sp>
      <p:sp>
        <p:nvSpPr>
          <p:cNvPr id="28" name="Rounded Rectangle 37">
            <a:extLst>
              <a:ext uri="{FF2B5EF4-FFF2-40B4-BE49-F238E27FC236}">
                <a16:creationId xmlns:a16="http://schemas.microsoft.com/office/drawing/2014/main" id="{58AE90C9-387E-45C3-986C-D80C4711996B}"/>
              </a:ext>
            </a:extLst>
          </p:cNvPr>
          <p:cNvSpPr/>
          <p:nvPr/>
        </p:nvSpPr>
        <p:spPr>
          <a:xfrm>
            <a:off x="204363" y="2817299"/>
            <a:ext cx="847031" cy="471834"/>
          </a:xfrm>
          <a:prstGeom prst="roundRect">
            <a:avLst>
              <a:gd name="adj" fmla="val 88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Transactional Data</a:t>
            </a:r>
          </a:p>
        </p:txBody>
      </p:sp>
      <p:sp>
        <p:nvSpPr>
          <p:cNvPr id="34" name="Rounded Rectangle 45">
            <a:extLst>
              <a:ext uri="{FF2B5EF4-FFF2-40B4-BE49-F238E27FC236}">
                <a16:creationId xmlns:a16="http://schemas.microsoft.com/office/drawing/2014/main" id="{1B342B63-39CF-4633-93FA-64B49E915853}"/>
              </a:ext>
            </a:extLst>
          </p:cNvPr>
          <p:cNvSpPr/>
          <p:nvPr/>
        </p:nvSpPr>
        <p:spPr>
          <a:xfrm>
            <a:off x="187266" y="5728541"/>
            <a:ext cx="847031" cy="471834"/>
          </a:xfrm>
          <a:prstGeom prst="roundRect">
            <a:avLst>
              <a:gd name="adj" fmla="val 88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Reference Data</a:t>
            </a:r>
          </a:p>
        </p:txBody>
      </p:sp>
      <p:sp>
        <p:nvSpPr>
          <p:cNvPr id="35" name="Rounded Rectangle 46">
            <a:extLst>
              <a:ext uri="{FF2B5EF4-FFF2-40B4-BE49-F238E27FC236}">
                <a16:creationId xmlns:a16="http://schemas.microsoft.com/office/drawing/2014/main" id="{DED6F72D-4D26-467C-9584-9E5ADCB833C0}"/>
              </a:ext>
            </a:extLst>
          </p:cNvPr>
          <p:cNvSpPr/>
          <p:nvPr/>
        </p:nvSpPr>
        <p:spPr>
          <a:xfrm>
            <a:off x="202927" y="4981120"/>
            <a:ext cx="847031" cy="471834"/>
          </a:xfrm>
          <a:prstGeom prst="roundRect">
            <a:avLst>
              <a:gd name="adj" fmla="val 88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IoT Data</a:t>
            </a:r>
          </a:p>
        </p:txBody>
      </p:sp>
      <p:sp>
        <p:nvSpPr>
          <p:cNvPr id="66" name="Rounded Rectangle 38">
            <a:extLst>
              <a:ext uri="{FF2B5EF4-FFF2-40B4-BE49-F238E27FC236}">
                <a16:creationId xmlns:a16="http://schemas.microsoft.com/office/drawing/2014/main" id="{E01D4685-8D8A-4DCA-811E-F8528814A113}"/>
              </a:ext>
            </a:extLst>
          </p:cNvPr>
          <p:cNvSpPr/>
          <p:nvPr/>
        </p:nvSpPr>
        <p:spPr>
          <a:xfrm>
            <a:off x="3300443" y="2958704"/>
            <a:ext cx="1121792" cy="539281"/>
          </a:xfrm>
          <a:prstGeom prst="roundRect">
            <a:avLst>
              <a:gd name="adj" fmla="val 2532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>
                <a:cs typeface="Arial"/>
              </a:rPr>
              <a:t>Transform</a:t>
            </a:r>
          </a:p>
        </p:txBody>
      </p:sp>
      <p:sp>
        <p:nvSpPr>
          <p:cNvPr id="67" name="Rounded Rectangle 38">
            <a:extLst>
              <a:ext uri="{FF2B5EF4-FFF2-40B4-BE49-F238E27FC236}">
                <a16:creationId xmlns:a16="http://schemas.microsoft.com/office/drawing/2014/main" id="{919839EE-E1AA-4F1B-8E96-6ED53B419A82}"/>
              </a:ext>
            </a:extLst>
          </p:cNvPr>
          <p:cNvSpPr/>
          <p:nvPr/>
        </p:nvSpPr>
        <p:spPr>
          <a:xfrm>
            <a:off x="4575616" y="2958704"/>
            <a:ext cx="1121792" cy="539281"/>
          </a:xfrm>
          <a:prstGeom prst="roundRect">
            <a:avLst>
              <a:gd name="adj" fmla="val 2532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>
                <a:cs typeface="Arial"/>
              </a:rPr>
              <a:t>Integrate</a:t>
            </a:r>
          </a:p>
        </p:txBody>
      </p:sp>
      <p:sp>
        <p:nvSpPr>
          <p:cNvPr id="68" name="Rounded Rectangle 38">
            <a:extLst>
              <a:ext uri="{FF2B5EF4-FFF2-40B4-BE49-F238E27FC236}">
                <a16:creationId xmlns:a16="http://schemas.microsoft.com/office/drawing/2014/main" id="{0EE3E5F6-BF1B-4F06-A2E0-FE194962EF1E}"/>
              </a:ext>
            </a:extLst>
          </p:cNvPr>
          <p:cNvSpPr/>
          <p:nvPr/>
        </p:nvSpPr>
        <p:spPr>
          <a:xfrm>
            <a:off x="5821144" y="2958704"/>
            <a:ext cx="1121792" cy="539281"/>
          </a:xfrm>
          <a:prstGeom prst="roundRect">
            <a:avLst>
              <a:gd name="adj" fmla="val 2532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>
                <a:cs typeface="Arial"/>
              </a:rPr>
              <a:t>Enrich</a:t>
            </a:r>
          </a:p>
        </p:txBody>
      </p:sp>
      <p:sp>
        <p:nvSpPr>
          <p:cNvPr id="69" name="Rounded Rectangle 41">
            <a:extLst>
              <a:ext uri="{FF2B5EF4-FFF2-40B4-BE49-F238E27FC236}">
                <a16:creationId xmlns:a16="http://schemas.microsoft.com/office/drawing/2014/main" id="{AF04A753-E92D-4DC2-96CC-91F686ACC32F}"/>
              </a:ext>
            </a:extLst>
          </p:cNvPr>
          <p:cNvSpPr/>
          <p:nvPr/>
        </p:nvSpPr>
        <p:spPr>
          <a:xfrm>
            <a:off x="6252582" y="4672804"/>
            <a:ext cx="945621" cy="631705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nriched </a:t>
            </a:r>
            <a:endParaRPr lang="en-US" sz="1200">
              <a:solidFill>
                <a:schemeClr val="tx1"/>
              </a:solidFill>
            </a:endParaRPr>
          </a:p>
          <a:p>
            <a:pPr algn="ctr"/>
            <a:r>
              <a:rPr lang="en-US" sz="1200" b="1">
                <a:solidFill>
                  <a:schemeClr val="tx1"/>
                </a:solidFill>
              </a:rPr>
              <a:t>Data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0" name="Rounded Rectangle 61">
            <a:extLst>
              <a:ext uri="{FF2B5EF4-FFF2-40B4-BE49-F238E27FC236}">
                <a16:creationId xmlns:a16="http://schemas.microsoft.com/office/drawing/2014/main" id="{25A224F6-9351-4ED8-9E99-203E1D89EE2D}"/>
              </a:ext>
            </a:extLst>
          </p:cNvPr>
          <p:cNvSpPr/>
          <p:nvPr/>
        </p:nvSpPr>
        <p:spPr>
          <a:xfrm>
            <a:off x="4789501" y="4705532"/>
            <a:ext cx="1270694" cy="243836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tegrated Data</a:t>
            </a:r>
          </a:p>
        </p:txBody>
      </p:sp>
      <p:sp>
        <p:nvSpPr>
          <p:cNvPr id="71" name="Rounded Rectangle 63">
            <a:extLst>
              <a:ext uri="{FF2B5EF4-FFF2-40B4-BE49-F238E27FC236}">
                <a16:creationId xmlns:a16="http://schemas.microsoft.com/office/drawing/2014/main" id="{0E332D4F-CEFD-4250-AAE5-7CC08BDA07EE}"/>
              </a:ext>
            </a:extLst>
          </p:cNvPr>
          <p:cNvSpPr/>
          <p:nvPr/>
        </p:nvSpPr>
        <p:spPr>
          <a:xfrm>
            <a:off x="7695163" y="2808647"/>
            <a:ext cx="993619" cy="1435491"/>
          </a:xfrm>
          <a:prstGeom prst="roundRect">
            <a:avLst>
              <a:gd name="adj" fmla="val 9775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200" b="1"/>
              <a:t>Delivery</a:t>
            </a:r>
          </a:p>
          <a:p>
            <a:pPr algn="ctr"/>
            <a:r>
              <a:rPr lang="en-US" sz="1200" b="1"/>
              <a:t>Data Services</a:t>
            </a:r>
          </a:p>
          <a:p>
            <a:pPr algn="ctr"/>
            <a:endParaRPr lang="en-US" sz="1200" b="1"/>
          </a:p>
        </p:txBody>
      </p:sp>
      <p:sp>
        <p:nvSpPr>
          <p:cNvPr id="72" name="Rounded Rectangle 27">
            <a:extLst>
              <a:ext uri="{FF2B5EF4-FFF2-40B4-BE49-F238E27FC236}">
                <a16:creationId xmlns:a16="http://schemas.microsoft.com/office/drawing/2014/main" id="{EDB2CB99-0199-44C6-A7BD-AF30AF72D82C}"/>
              </a:ext>
            </a:extLst>
          </p:cNvPr>
          <p:cNvSpPr/>
          <p:nvPr/>
        </p:nvSpPr>
        <p:spPr>
          <a:xfrm>
            <a:off x="8924195" y="2778022"/>
            <a:ext cx="2433273" cy="779632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Discovery Data/Sandbox</a:t>
            </a:r>
          </a:p>
          <a:p>
            <a:pPr algn="ctr"/>
            <a: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Self-Service, Data Exploration, Model Development</a:t>
            </a:r>
            <a:b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</a:br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73" name="Rounded Rectangle 60">
            <a:extLst>
              <a:ext uri="{FF2B5EF4-FFF2-40B4-BE49-F238E27FC236}">
                <a16:creationId xmlns:a16="http://schemas.microsoft.com/office/drawing/2014/main" id="{91D54D0B-00CA-4062-BB36-9A986CF09217}"/>
              </a:ext>
            </a:extLst>
          </p:cNvPr>
          <p:cNvSpPr/>
          <p:nvPr/>
        </p:nvSpPr>
        <p:spPr>
          <a:xfrm>
            <a:off x="4622392" y="5471409"/>
            <a:ext cx="2575811" cy="521945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5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 </a:t>
            </a:r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ENTERPRISE DATA</a:t>
            </a:r>
          </a:p>
          <a:p>
            <a:pPr algn="ctr"/>
            <a:r>
              <a:rPr lang="en-US" sz="10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(</a:t>
            </a:r>
            <a: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Member, Customer, Patient, Product, Provider, Claim, Rx, PBM, etc.)</a:t>
            </a:r>
            <a:endParaRPr lang="en-US" sz="105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41" name="Rounded Rectangle 27">
            <a:extLst>
              <a:ext uri="{FF2B5EF4-FFF2-40B4-BE49-F238E27FC236}">
                <a16:creationId xmlns:a16="http://schemas.microsoft.com/office/drawing/2014/main" id="{C3DCEF3F-1006-4DAF-A71E-3D379942A30D}"/>
              </a:ext>
            </a:extLst>
          </p:cNvPr>
          <p:cNvSpPr/>
          <p:nvPr/>
        </p:nvSpPr>
        <p:spPr>
          <a:xfrm>
            <a:off x="8924196" y="3659417"/>
            <a:ext cx="2433273" cy="787010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Insights Data</a:t>
            </a:r>
          </a:p>
          <a:p>
            <a:pPr algn="ctr"/>
            <a: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(Applications, Models, Reports, Dashboards, Extracts)</a:t>
            </a:r>
          </a:p>
          <a:p>
            <a:pPr algn="ctr"/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42" name="Rounded Rectangle 27">
            <a:extLst>
              <a:ext uri="{FF2B5EF4-FFF2-40B4-BE49-F238E27FC236}">
                <a16:creationId xmlns:a16="http://schemas.microsoft.com/office/drawing/2014/main" id="{2ABB3869-E053-4FDC-999D-393729EE7B11}"/>
              </a:ext>
            </a:extLst>
          </p:cNvPr>
          <p:cNvSpPr/>
          <p:nvPr/>
        </p:nvSpPr>
        <p:spPr>
          <a:xfrm>
            <a:off x="8924196" y="4525502"/>
            <a:ext cx="2413336" cy="642151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Applications</a:t>
            </a:r>
            <a:r>
              <a:rPr lang="en-US" sz="12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 </a:t>
            </a:r>
          </a:p>
          <a:p>
            <a:pPr algn="ctr"/>
            <a: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NBA, real-time response</a:t>
            </a:r>
          </a:p>
          <a:p>
            <a:pPr algn="ctr"/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33" name="Rounded Rectangle 27">
            <a:extLst>
              <a:ext uri="{FF2B5EF4-FFF2-40B4-BE49-F238E27FC236}">
                <a16:creationId xmlns:a16="http://schemas.microsoft.com/office/drawing/2014/main" id="{4E23A953-75DC-408D-ACC6-30183B5C7E3F}"/>
              </a:ext>
            </a:extLst>
          </p:cNvPr>
          <p:cNvSpPr/>
          <p:nvPr/>
        </p:nvSpPr>
        <p:spPr>
          <a:xfrm>
            <a:off x="8924196" y="5253638"/>
            <a:ext cx="2413336" cy="935697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Operational Data </a:t>
            </a:r>
          </a:p>
          <a:p>
            <a:pPr algn="ctr"/>
            <a: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Single Source of Truth (used for digital, dashboards, real- time analytics)</a:t>
            </a:r>
          </a:p>
          <a:p>
            <a:pPr algn="ctr"/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B6C42005-4E27-44C1-9C79-4C5B8444A826}"/>
              </a:ext>
            </a:extLst>
          </p:cNvPr>
          <p:cNvSpPr/>
          <p:nvPr/>
        </p:nvSpPr>
        <p:spPr>
          <a:xfrm>
            <a:off x="3170153" y="3276002"/>
            <a:ext cx="4429539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cs typeface="Open Sans Bold"/>
              </a:rPr>
              <a:t>Transformation Services</a:t>
            </a:r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BB720780-3379-4479-B58B-4BB59E08CC51}"/>
              </a:ext>
            </a:extLst>
          </p:cNvPr>
          <p:cNvSpPr/>
          <p:nvPr/>
        </p:nvSpPr>
        <p:spPr>
          <a:xfrm>
            <a:off x="1415128" y="2684510"/>
            <a:ext cx="1761588" cy="1754951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Ingest Services: Batch </a:t>
            </a:r>
          </a:p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Streaming</a:t>
            </a:r>
          </a:p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Near Realtime</a:t>
            </a:r>
            <a:endParaRPr lang="en-US" sz="160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23AB67E-FA43-47FD-906F-7CCF035256EE}"/>
              </a:ext>
            </a:extLst>
          </p:cNvPr>
          <p:cNvSpPr/>
          <p:nvPr/>
        </p:nvSpPr>
        <p:spPr bwMode="gray">
          <a:xfrm>
            <a:off x="1256338" y="2091204"/>
            <a:ext cx="10555911" cy="4231744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6E23AA-C674-4912-9F9E-8A51EBB03412}"/>
              </a:ext>
            </a:extLst>
          </p:cNvPr>
          <p:cNvCxnSpPr>
            <a:cxnSpLocks/>
          </p:cNvCxnSpPr>
          <p:nvPr/>
        </p:nvCxnSpPr>
        <p:spPr>
          <a:xfrm>
            <a:off x="3143699" y="2091204"/>
            <a:ext cx="0" cy="4312170"/>
          </a:xfrm>
          <a:prstGeom prst="line">
            <a:avLst/>
          </a:prstGeom>
          <a:ln w="38100" cmpd="sng">
            <a:solidFill>
              <a:srgbClr val="00859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8C0AFAA-57C1-4FAD-BBAD-932D5D7D711C}"/>
              </a:ext>
            </a:extLst>
          </p:cNvPr>
          <p:cNvSpPr txBox="1"/>
          <p:nvPr/>
        </p:nvSpPr>
        <p:spPr>
          <a:xfrm>
            <a:off x="1789602" y="1844066"/>
            <a:ext cx="10163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>
                <a:solidFill>
                  <a:schemeClr val="tx2"/>
                </a:solidFill>
              </a:rPr>
              <a:t>Publish Dat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9AD5B2C-E36F-452C-BDC8-8726C6B03B8B}"/>
              </a:ext>
            </a:extLst>
          </p:cNvPr>
          <p:cNvSpPr txBox="1"/>
          <p:nvPr/>
        </p:nvSpPr>
        <p:spPr>
          <a:xfrm>
            <a:off x="9646077" y="1818074"/>
            <a:ext cx="119423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>
                <a:solidFill>
                  <a:schemeClr val="tx2"/>
                </a:solidFill>
              </a:rPr>
              <a:t>Consume Data</a:t>
            </a:r>
          </a:p>
        </p:txBody>
      </p:sp>
      <p:sp>
        <p:nvSpPr>
          <p:cNvPr id="29" name="Rounded Rectangle 38">
            <a:extLst>
              <a:ext uri="{FF2B5EF4-FFF2-40B4-BE49-F238E27FC236}">
                <a16:creationId xmlns:a16="http://schemas.microsoft.com/office/drawing/2014/main" id="{FA04A136-72FA-4164-86BB-2BCA7B2290FA}"/>
              </a:ext>
            </a:extLst>
          </p:cNvPr>
          <p:cNvSpPr/>
          <p:nvPr/>
        </p:nvSpPr>
        <p:spPr>
          <a:xfrm>
            <a:off x="1986977" y="4626349"/>
            <a:ext cx="2468780" cy="1367005"/>
          </a:xfrm>
          <a:prstGeom prst="roundRect">
            <a:avLst>
              <a:gd name="adj" fmla="val 2532"/>
            </a:avLst>
          </a:prstGeom>
          <a:solidFill>
            <a:schemeClr val="accent5">
              <a:lumMod val="60000"/>
              <a:lumOff val="40000"/>
              <a:alpha val="38000"/>
            </a:schemeClr>
          </a:solidFill>
          <a:ln w="19050">
            <a:solidFill>
              <a:schemeClr val="tx1"/>
            </a:solidFill>
            <a:prstDash val="dash"/>
          </a:ln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1000" b="1">
                <a:cs typeface="Arial"/>
              </a:rPr>
              <a:t>Ingestion  &amp; Landing Data</a:t>
            </a:r>
            <a:br>
              <a:rPr lang="en-US" sz="1000" b="1">
                <a:cs typeface="Arial"/>
              </a:rPr>
            </a:br>
            <a:endParaRPr lang="en-US" sz="1000" b="1">
              <a:cs typeface="Arial"/>
            </a:endParaRPr>
          </a:p>
        </p:txBody>
      </p:sp>
      <p:sp>
        <p:nvSpPr>
          <p:cNvPr id="30" name="Rounded Rectangle 39">
            <a:extLst>
              <a:ext uri="{FF2B5EF4-FFF2-40B4-BE49-F238E27FC236}">
                <a16:creationId xmlns:a16="http://schemas.microsoft.com/office/drawing/2014/main" id="{1F447DC2-92F9-4E20-95C4-043A843DA09E}"/>
              </a:ext>
            </a:extLst>
          </p:cNvPr>
          <p:cNvSpPr/>
          <p:nvPr/>
        </p:nvSpPr>
        <p:spPr>
          <a:xfrm>
            <a:off x="2142244" y="5046471"/>
            <a:ext cx="945621" cy="862194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Raw Data</a:t>
            </a:r>
          </a:p>
        </p:txBody>
      </p:sp>
      <p:sp>
        <p:nvSpPr>
          <p:cNvPr id="31" name="Rounded Rectangle 40">
            <a:extLst>
              <a:ext uri="{FF2B5EF4-FFF2-40B4-BE49-F238E27FC236}">
                <a16:creationId xmlns:a16="http://schemas.microsoft.com/office/drawing/2014/main" id="{2ABE2CAE-BDD1-4AB0-9D2D-4F9DD21BCEFC}"/>
              </a:ext>
            </a:extLst>
          </p:cNvPr>
          <p:cNvSpPr/>
          <p:nvPr/>
        </p:nvSpPr>
        <p:spPr>
          <a:xfrm>
            <a:off x="3354801" y="5065928"/>
            <a:ext cx="945621" cy="862194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 </a:t>
            </a:r>
            <a:r>
              <a:rPr lang="en-US" sz="12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Raw Viewable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44AA50-C4EF-4BF8-9DE4-F06C6D4A73E6}"/>
              </a:ext>
            </a:extLst>
          </p:cNvPr>
          <p:cNvSpPr/>
          <p:nvPr/>
        </p:nvSpPr>
        <p:spPr>
          <a:xfrm>
            <a:off x="1120584" y="3965728"/>
            <a:ext cx="13644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Inge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0975E2-772C-4D70-B1A4-194AAD7FEDAF}"/>
              </a:ext>
            </a:extLst>
          </p:cNvPr>
          <p:cNvSpPr/>
          <p:nvPr/>
        </p:nvSpPr>
        <p:spPr>
          <a:xfrm>
            <a:off x="4778229" y="3894534"/>
            <a:ext cx="1095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Pipelin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3B7442-6FD9-49A0-9072-7FE48F63EED4}"/>
              </a:ext>
            </a:extLst>
          </p:cNvPr>
          <p:cNvSpPr/>
          <p:nvPr/>
        </p:nvSpPr>
        <p:spPr>
          <a:xfrm>
            <a:off x="7727008" y="4149478"/>
            <a:ext cx="9525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/>
              <a:t>Information</a:t>
            </a:r>
          </a:p>
          <a:p>
            <a:pPr algn="ctr"/>
            <a:r>
              <a:rPr lang="en-US" sz="1200"/>
              <a:t> Deliver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5D908E9-BB97-489D-8228-7AC9D3A5BBE6}"/>
              </a:ext>
            </a:extLst>
          </p:cNvPr>
          <p:cNvSpPr/>
          <p:nvPr/>
        </p:nvSpPr>
        <p:spPr bwMode="gray">
          <a:xfrm>
            <a:off x="7695163" y="3469493"/>
            <a:ext cx="952505" cy="624656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API Access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Self Serv. Provisioning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Virtualization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8EDBB71-D918-491B-AC10-6B5E83C07F20}"/>
              </a:ext>
            </a:extLst>
          </p:cNvPr>
          <p:cNvSpPr/>
          <p:nvPr/>
        </p:nvSpPr>
        <p:spPr bwMode="gray">
          <a:xfrm>
            <a:off x="8924195" y="4195912"/>
            <a:ext cx="2413334" cy="240930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ata Warehouses/Data Mart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CC60BFBE-2A6D-4703-93EB-301787015F71}"/>
              </a:ext>
            </a:extLst>
          </p:cNvPr>
          <p:cNvSpPr/>
          <p:nvPr/>
        </p:nvSpPr>
        <p:spPr bwMode="gray">
          <a:xfrm>
            <a:off x="8924195" y="5916846"/>
            <a:ext cx="2413334" cy="236641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ata Hub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4A6C7BF-F1CF-4925-808E-6A67DA512374}"/>
              </a:ext>
            </a:extLst>
          </p:cNvPr>
          <p:cNvSpPr/>
          <p:nvPr/>
        </p:nvSpPr>
        <p:spPr bwMode="gray">
          <a:xfrm>
            <a:off x="8924195" y="4933644"/>
            <a:ext cx="2413334" cy="226482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PI Integration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06E3121-EE05-4B64-BAA7-FC494987860A}"/>
              </a:ext>
            </a:extLst>
          </p:cNvPr>
          <p:cNvSpPr/>
          <p:nvPr/>
        </p:nvSpPr>
        <p:spPr bwMode="gray">
          <a:xfrm>
            <a:off x="8934163" y="3297264"/>
            <a:ext cx="2413335" cy="281652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ata Lake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EEB52462-AED1-4703-BF2A-07F45A5528B0}"/>
              </a:ext>
            </a:extLst>
          </p:cNvPr>
          <p:cNvSpPr/>
          <p:nvPr/>
        </p:nvSpPr>
        <p:spPr bwMode="gray">
          <a:xfrm>
            <a:off x="11454746" y="2297278"/>
            <a:ext cx="190868" cy="3937960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Security &amp; Compliance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3CF82EFC-3600-4018-8357-B7780AE50771}"/>
              </a:ext>
            </a:extLst>
          </p:cNvPr>
          <p:cNvSpPr/>
          <p:nvPr/>
        </p:nvSpPr>
        <p:spPr bwMode="gray">
          <a:xfrm>
            <a:off x="10172310" y="1323274"/>
            <a:ext cx="1905057" cy="232881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Emerging/Enhancing in DP 2.0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22" name="Rounded Rectangle 26">
            <a:extLst>
              <a:ext uri="{FF2B5EF4-FFF2-40B4-BE49-F238E27FC236}">
                <a16:creationId xmlns:a16="http://schemas.microsoft.com/office/drawing/2014/main" id="{79FA4BA3-FAD3-4322-A035-A48E86AD8701}"/>
              </a:ext>
            </a:extLst>
          </p:cNvPr>
          <p:cNvSpPr/>
          <p:nvPr/>
        </p:nvSpPr>
        <p:spPr>
          <a:xfrm>
            <a:off x="1415127" y="2297278"/>
            <a:ext cx="10230487" cy="387232"/>
          </a:xfrm>
          <a:prstGeom prst="roundRect">
            <a:avLst>
              <a:gd name="adj" fmla="val 3656"/>
            </a:avLst>
          </a:prstGeom>
          <a:solidFill>
            <a:srgbClr val="00A78E">
              <a:alpha val="67843"/>
            </a:srgbClr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ea typeface="IBM Plex Sans SemiBold" charset="0"/>
                <a:cs typeface="IBM Plex Sans SemiBold" charset="0"/>
              </a:rPr>
              <a:t>Data Catalog / Metadata/ Data Lifecycle Management </a:t>
            </a:r>
          </a:p>
        </p:txBody>
      </p:sp>
      <p:sp>
        <p:nvSpPr>
          <p:cNvPr id="46" name="Rounded Rectangle 27">
            <a:extLst>
              <a:ext uri="{FF2B5EF4-FFF2-40B4-BE49-F238E27FC236}">
                <a16:creationId xmlns:a16="http://schemas.microsoft.com/office/drawing/2014/main" id="{27EA6722-7C9A-4F35-9516-43031D892719}"/>
              </a:ext>
            </a:extLst>
          </p:cNvPr>
          <p:cNvSpPr/>
          <p:nvPr/>
        </p:nvSpPr>
        <p:spPr>
          <a:xfrm>
            <a:off x="7686064" y="5260780"/>
            <a:ext cx="1176756" cy="924181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Archived  Data </a:t>
            </a:r>
          </a:p>
          <a:p>
            <a:pPr algn="ctr"/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1676ACEA-2C13-4B31-81CC-AE36EA18FB67}"/>
              </a:ext>
            </a:extLst>
          </p:cNvPr>
          <p:cNvSpPr/>
          <p:nvPr/>
        </p:nvSpPr>
        <p:spPr bwMode="gray">
          <a:xfrm>
            <a:off x="7686061" y="5935263"/>
            <a:ext cx="1156725" cy="225365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Cold Storage</a:t>
            </a:r>
          </a:p>
        </p:txBody>
      </p:sp>
      <p:sp>
        <p:nvSpPr>
          <p:cNvPr id="51" name="Rounded Rectangle 61">
            <a:extLst>
              <a:ext uri="{FF2B5EF4-FFF2-40B4-BE49-F238E27FC236}">
                <a16:creationId xmlns:a16="http://schemas.microsoft.com/office/drawing/2014/main" id="{DEDCD76A-C4A3-45A8-B4C6-186E7A5096A2}"/>
              </a:ext>
            </a:extLst>
          </p:cNvPr>
          <p:cNvSpPr/>
          <p:nvPr/>
        </p:nvSpPr>
        <p:spPr>
          <a:xfrm>
            <a:off x="4800007" y="5066950"/>
            <a:ext cx="1270693" cy="250411"/>
          </a:xfrm>
          <a:prstGeom prst="roundRect">
            <a:avLst>
              <a:gd name="adj" fmla="val 9775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formed Data</a:t>
            </a:r>
          </a:p>
        </p:txBody>
      </p:sp>
    </p:spTree>
    <p:extLst>
      <p:ext uri="{BB962C8B-B14F-4D97-AF65-F5344CB8AC3E}">
        <p14:creationId xmlns:p14="http://schemas.microsoft.com/office/powerpoint/2010/main" val="4102566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2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694451"/>
          </a:xfrm>
        </p:spPr>
        <p:txBody>
          <a:bodyPr/>
          <a:lstStyle/>
          <a:p>
            <a:r>
              <a:rPr lang="en-US" sz="2000">
                <a:cs typeface="Arial" panose="020B0604020202020204" pitchFamily="34" charset="0"/>
                <a:sym typeface="Arial" panose="020B0604020202020204" pitchFamily="34" charset="0"/>
              </a:rPr>
              <a:t>Data Ingest/pipeline patterns for Data Platform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25728" y="1395786"/>
            <a:ext cx="2122697" cy="346249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500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Future State</a:t>
            </a:r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AA6C824F-C5FF-485F-ABA0-609797DA1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805716"/>
              </p:ext>
            </p:extLst>
          </p:nvPr>
        </p:nvGraphicFramePr>
        <p:xfrm>
          <a:off x="438130" y="1821853"/>
          <a:ext cx="11628950" cy="4272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0355">
                  <a:extLst>
                    <a:ext uri="{9D8B030D-6E8A-4147-A177-3AD203B41FA5}">
                      <a16:colId xmlns:a16="http://schemas.microsoft.com/office/drawing/2014/main" val="439347575"/>
                    </a:ext>
                  </a:extLst>
                </a:gridCol>
                <a:gridCol w="4676931">
                  <a:extLst>
                    <a:ext uri="{9D8B030D-6E8A-4147-A177-3AD203B41FA5}">
                      <a16:colId xmlns:a16="http://schemas.microsoft.com/office/drawing/2014/main" val="3802742019"/>
                    </a:ext>
                  </a:extLst>
                </a:gridCol>
                <a:gridCol w="5081664">
                  <a:extLst>
                    <a:ext uri="{9D8B030D-6E8A-4147-A177-3AD203B41FA5}">
                      <a16:colId xmlns:a16="http://schemas.microsoft.com/office/drawing/2014/main" val="21170650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ngest and Pipeline Patt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96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Data Lake pat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ransactional data ingested from “trusted source"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quires encryption of PHI/PII field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tegration of sources for 360 view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Data Modeling requir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Conformance of fields across the integrated sourc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cremental changes support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2523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Enterprise conformance not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Processed data ingested from “trusted source” (such as EDW/IDW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Requires encryption of PHI/PII field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Integration of sources for 360 view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Limited data model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Conformance done via source process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External 3</a:t>
                      </a:r>
                      <a:r>
                        <a:rPr lang="en-US" sz="1400" baseline="30000"/>
                        <a:t>rd</a:t>
                      </a:r>
                      <a:r>
                        <a:rPr lang="en-US" sz="1400"/>
                        <a:t> party dat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0351836"/>
                  </a:ext>
                </a:extLst>
              </a:tr>
              <a:tr h="640346">
                <a:tc>
                  <a:txBody>
                    <a:bodyPr/>
                    <a:lstStyle/>
                    <a:p>
                      <a:r>
                        <a:rPr lang="en-US" sz="1400"/>
                        <a:t>Streaming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Data ingested in Realtime, from “trusted source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No integration or conformance needed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Transform may be done during streaming in memory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776271"/>
                  </a:ext>
                </a:extLst>
              </a:tr>
            </a:tbl>
          </a:graphicData>
        </a:graphic>
      </p:graphicFrame>
      <p:sp>
        <p:nvSpPr>
          <p:cNvPr id="51" name="Arrow: Right 50">
            <a:extLst>
              <a:ext uri="{FF2B5EF4-FFF2-40B4-BE49-F238E27FC236}">
                <a16:creationId xmlns:a16="http://schemas.microsoft.com/office/drawing/2014/main" id="{53C40D55-7206-4469-B2F7-38BF8D732191}"/>
              </a:ext>
            </a:extLst>
          </p:cNvPr>
          <p:cNvSpPr/>
          <p:nvPr/>
        </p:nvSpPr>
        <p:spPr>
          <a:xfrm>
            <a:off x="8139658" y="2222841"/>
            <a:ext cx="3554373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cs typeface="Open Sans Bold"/>
              </a:rPr>
              <a:t>Raw  | Raw Viewable | Integrated | Conformed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721C725-6665-4ECC-95DD-26A8A720A23C}"/>
              </a:ext>
            </a:extLst>
          </p:cNvPr>
          <p:cNvSpPr/>
          <p:nvPr/>
        </p:nvSpPr>
        <p:spPr>
          <a:xfrm>
            <a:off x="8931675" y="3156718"/>
            <a:ext cx="1095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Pipeline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1021FE27-F355-48D8-BB21-74435C3F16D3}"/>
              </a:ext>
            </a:extLst>
          </p:cNvPr>
          <p:cNvSpPr/>
          <p:nvPr/>
        </p:nvSpPr>
        <p:spPr>
          <a:xfrm>
            <a:off x="7024468" y="2165271"/>
            <a:ext cx="1012390" cy="1109979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Batch / NRT / CDC</a:t>
            </a:r>
            <a:endParaRPr lang="en-US" sz="160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F3EAFC-87F4-476F-879E-1B1A2ADB3EFD}"/>
              </a:ext>
            </a:extLst>
          </p:cNvPr>
          <p:cNvSpPr/>
          <p:nvPr/>
        </p:nvSpPr>
        <p:spPr>
          <a:xfrm>
            <a:off x="6751435" y="3156718"/>
            <a:ext cx="13644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Ingest</a:t>
            </a: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3D5DBEE6-8B4D-4347-AA48-2EE490065463}"/>
              </a:ext>
            </a:extLst>
          </p:cNvPr>
          <p:cNvSpPr/>
          <p:nvPr/>
        </p:nvSpPr>
        <p:spPr>
          <a:xfrm>
            <a:off x="8199497" y="3497257"/>
            <a:ext cx="3554373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cs typeface="Open Sans Bold"/>
              </a:rPr>
              <a:t>Raw  | Raw Viewable | Integrate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05E5972-11F9-43DB-BB0C-14E2ACBA98AD}"/>
              </a:ext>
            </a:extLst>
          </p:cNvPr>
          <p:cNvSpPr/>
          <p:nvPr/>
        </p:nvSpPr>
        <p:spPr>
          <a:xfrm>
            <a:off x="9024115" y="4790674"/>
            <a:ext cx="1095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Pipeline</a:t>
            </a:r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61D5CA4A-E90A-4D64-BC12-2F7AB1FEEACC}"/>
              </a:ext>
            </a:extLst>
          </p:cNvPr>
          <p:cNvSpPr/>
          <p:nvPr/>
        </p:nvSpPr>
        <p:spPr>
          <a:xfrm>
            <a:off x="7024468" y="3703119"/>
            <a:ext cx="973403" cy="935606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Batch / NRT</a:t>
            </a:r>
            <a:endParaRPr lang="en-US" sz="160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DE09C08-1483-4F2E-868C-2C77009099E7}"/>
              </a:ext>
            </a:extLst>
          </p:cNvPr>
          <p:cNvSpPr/>
          <p:nvPr/>
        </p:nvSpPr>
        <p:spPr>
          <a:xfrm>
            <a:off x="6815706" y="4790674"/>
            <a:ext cx="13644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Ingest</a:t>
            </a: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BDD1C7EA-E4CF-48D7-8E59-474F9080ACCF}"/>
              </a:ext>
            </a:extLst>
          </p:cNvPr>
          <p:cNvSpPr/>
          <p:nvPr/>
        </p:nvSpPr>
        <p:spPr>
          <a:xfrm>
            <a:off x="8139658" y="5107582"/>
            <a:ext cx="3554373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cs typeface="Open Sans Bold"/>
              </a:rPr>
              <a:t>Raw  | Raw Viewable | Integrated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6C277D5-D6FE-4D2B-8B6D-96201629A04C}"/>
              </a:ext>
            </a:extLst>
          </p:cNvPr>
          <p:cNvSpPr/>
          <p:nvPr/>
        </p:nvSpPr>
        <p:spPr>
          <a:xfrm>
            <a:off x="9176515" y="5765889"/>
            <a:ext cx="1095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Pipeline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9BE62064-9D35-4DF5-8B81-E0B990AE2B07}"/>
              </a:ext>
            </a:extLst>
          </p:cNvPr>
          <p:cNvSpPr/>
          <p:nvPr/>
        </p:nvSpPr>
        <p:spPr>
          <a:xfrm>
            <a:off x="7024468" y="5107582"/>
            <a:ext cx="973403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  <a:cs typeface="Open Sans Bold"/>
              </a:rPr>
              <a:t>Stream:</a:t>
            </a:r>
            <a:endParaRPr lang="en-US" sz="160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9759C63-B7FA-490E-BD17-F72676A47E74}"/>
              </a:ext>
            </a:extLst>
          </p:cNvPr>
          <p:cNvSpPr/>
          <p:nvPr/>
        </p:nvSpPr>
        <p:spPr>
          <a:xfrm>
            <a:off x="6751435" y="5780389"/>
            <a:ext cx="13644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ata Ingest</a:t>
            </a:r>
          </a:p>
        </p:txBody>
      </p:sp>
      <p:sp>
        <p:nvSpPr>
          <p:cNvPr id="87" name="Arrow: Right 86">
            <a:extLst>
              <a:ext uri="{FF2B5EF4-FFF2-40B4-BE49-F238E27FC236}">
                <a16:creationId xmlns:a16="http://schemas.microsoft.com/office/drawing/2014/main" id="{AEABDA07-7550-4780-AF9E-3D5F6F06C2C9}"/>
              </a:ext>
            </a:extLst>
          </p:cNvPr>
          <p:cNvSpPr/>
          <p:nvPr/>
        </p:nvSpPr>
        <p:spPr>
          <a:xfrm>
            <a:off x="8199496" y="4211616"/>
            <a:ext cx="3554373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cs typeface="Open Sans Bold"/>
              </a:rPr>
              <a:t>Raw  Viewabl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1657199-AC31-43FF-A147-5BB6BF2DAE7F}"/>
              </a:ext>
            </a:extLst>
          </p:cNvPr>
          <p:cNvSpPr/>
          <p:nvPr/>
        </p:nvSpPr>
        <p:spPr>
          <a:xfrm>
            <a:off x="8199495" y="4132723"/>
            <a:ext cx="302521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cs typeface="Open Sans Bold"/>
              </a:rPr>
              <a:t>Or when no integration or transformation required</a:t>
            </a:r>
          </a:p>
        </p:txBody>
      </p:sp>
    </p:spTree>
    <p:extLst>
      <p:ext uri="{BB962C8B-B14F-4D97-AF65-F5344CB8AC3E}">
        <p14:creationId xmlns:p14="http://schemas.microsoft.com/office/powerpoint/2010/main" val="23590215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</a:pPr>
            <a:r>
              <a:rPr lang="en-US"/>
              <a:t>Advancing CVS Health’s Data Platform 2.0 </a:t>
            </a:r>
            <a:b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6A0AF9-A3C7-4D4B-95CB-CC8E535579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 unified approach to data delivery for an insight driven enterpri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09693" y="1871710"/>
            <a:ext cx="2977924" cy="332312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Recommendat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72132" y="1871710"/>
            <a:ext cx="1844577" cy="3323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Conclus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418852" y="1871710"/>
            <a:ext cx="1942655" cy="332312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Opportun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452500" y="1034974"/>
            <a:ext cx="698365" cy="696961"/>
            <a:chOff x="9453373" y="2636377"/>
            <a:chExt cx="698547" cy="697143"/>
          </a:xfrm>
        </p:grpSpPr>
        <p:sp>
          <p:nvSpPr>
            <p:cNvPr id="9" name="Oval 8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1" name="Oval 10"/>
          <p:cNvSpPr/>
          <p:nvPr/>
        </p:nvSpPr>
        <p:spPr>
          <a:xfrm>
            <a:off x="2040992" y="1034974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745233" y="1034974"/>
            <a:ext cx="698365" cy="696961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156317" y="2168587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80125" y="2374501"/>
            <a:ext cx="3793011" cy="129896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e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ransformation of CVS Health from siloed lines of business (LOB)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o an integrated healthcare </a:t>
            </a:r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powerhouse </a:t>
            </a:r>
            <a:r>
              <a:rPr lang="en-US" sz="1400"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requires timely and accurate data driven decision making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e existing data environment is built on an array of technologies with different rules for each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nd limited visibility into what content is available</a:t>
            </a:r>
            <a:r>
              <a:rPr lang="en-US" sz="14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in each or where there is shared or redundant data across them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o provide meaningful data driven insights the business </a:t>
            </a:r>
            <a:r>
              <a:rPr lang="en-US" sz="1400"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must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have access to all the relevant data about a given topic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in useable form and of a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known quality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from a </a:t>
            </a:r>
            <a:r>
              <a:rPr lang="en-US" sz="1400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rusted source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22677" y="2374501"/>
            <a:ext cx="3876185" cy="4174289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Our Business is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sking for cross-LOB data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to use analytics to make business decisions that improve customers’ heath care journey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ere is a need to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invest in foundation capabilities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outside the</a:t>
            </a:r>
            <a:r>
              <a:rPr lang="en-US" sz="1400"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project-based funding to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proactively build a data platform that supports CVS Health’s strategic initiatives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Partial or duplicate data exits which drives up TCO and technical debt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ohesive set of data management and governance capabilities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cross on-prem and cloud-based repositories can enable the visibility, clarity,  and secure access to data needed to make informed decisions for business initiative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98871" y="2374501"/>
            <a:ext cx="3993120" cy="1298965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Domaine Display" charset="0"/>
                <a:cs typeface="Domaine Display" charset="0"/>
              </a:rPr>
              <a:t>Implement an </a:t>
            </a:r>
            <a:r>
              <a:rPr lang="en-US" sz="1400" kern="0">
                <a:solidFill>
                  <a:schemeClr val="accent1">
                    <a:lumMod val="75000"/>
                  </a:schemeClr>
                </a:solidFill>
                <a:ea typeface="Domaine Display" charset="0"/>
                <a:cs typeface="Domaine Display" charset="0"/>
              </a:rPr>
              <a:t>i</a:t>
            </a:r>
            <a:r>
              <a:rPr lang="en-US" sz="1400" kern="0">
                <a:ea typeface="Domaine Display" charset="0"/>
                <a:cs typeface="Domaine Display" charset="0"/>
              </a:rPr>
              <a:t>ntegrated ecosystem of tools, technologies and practices </a:t>
            </a:r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Domaine Display" charset="0"/>
                <a:cs typeface="Domaine Display" charset="0"/>
              </a:rPr>
              <a:t>to establish a cohesive </a:t>
            </a:r>
            <a:r>
              <a:rPr lang="en-US" sz="1400" b="1" kern="0">
                <a:solidFill>
                  <a:srgbClr val="D00000"/>
                </a:solidFill>
                <a:ea typeface="Domaine Display" charset="0"/>
                <a:cs typeface="Domaine Display" charset="0"/>
              </a:rPr>
              <a:t>data platform as a product to </a:t>
            </a:r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Domaine Display" charset="0"/>
                <a:cs typeface="Domaine Display" charset="0"/>
              </a:rPr>
              <a:t>for use by CVS Health company-wide, including: </a:t>
            </a:r>
            <a:endParaRPr lang="en-US"/>
          </a:p>
          <a:p>
            <a:pPr marL="290195" lvl="1" indent="-146050">
              <a:lnSpc>
                <a:spcPct val="110000"/>
              </a:lnSpc>
              <a:spcAft>
                <a:spcPts val="4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Arial"/>
                <a:sym typeface="Arial" panose="020B0604020202020204" pitchFamily="34" charset="0"/>
              </a:rPr>
              <a:t>A </a:t>
            </a:r>
            <a:r>
              <a:rPr lang="en-US" sz="1400" b="1">
                <a:solidFill>
                  <a:schemeClr val="accent2"/>
                </a:solidFill>
                <a:ea typeface="Open Sans" charset="0"/>
                <a:cs typeface="Arial"/>
                <a:sym typeface="Arial" panose="020B0604020202020204" pitchFamily="34" charset="0"/>
              </a:rPr>
              <a:t>product-based funding model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a typeface="Open Sans" charset="0"/>
                <a:cs typeface="Arial"/>
                <a:sym typeface="Arial" panose="020B0604020202020204" pitchFamily="34" charset="0"/>
              </a:rPr>
              <a:t>that allows upfront investment in the platform and data.  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  <a:p>
            <a:pPr marL="290195" lvl="1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A shared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ata stewardship and ownership program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o ensure well-defined quality data.  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efine a prioritized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roadmap for Data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hat supports CVS Health strategic initiatives. 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Establish a strategy and 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roadmap for extending the Data Platform to cloud 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o enable fast, flexible access to data for the emerging digital landscape.  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8198862" y="2168587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4899"/>
          <p:cNvSpPr>
            <a:spLocks noEditPoints="1"/>
          </p:cNvSpPr>
          <p:nvPr/>
        </p:nvSpPr>
        <p:spPr bwMode="auto">
          <a:xfrm>
            <a:off x="5912163" y="1164824"/>
            <a:ext cx="392729" cy="392729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9576" y="1145747"/>
            <a:ext cx="430232" cy="431098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0F0B9C6-9BC8-4CF9-8532-2931D28C701D}"/>
              </a:ext>
            </a:extLst>
          </p:cNvPr>
          <p:cNvSpPr txBox="1">
            <a:spLocks/>
          </p:cNvSpPr>
          <p:nvPr/>
        </p:nvSpPr>
        <p:spPr bwMode="gray">
          <a:xfrm>
            <a:off x="559372" y="819617"/>
            <a:ext cx="9685338" cy="422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1800"/>
              </a:spcBef>
              <a:buClrTx/>
              <a:buFont typeface="Arial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457200" rtl="0" eaLnBrk="1" latinLnBrk="0" hangingPunct="1">
              <a:spcBef>
                <a:spcPts val="12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457200" rtl="0" eaLnBrk="1" latinLnBrk="0" hangingPunct="1">
              <a:spcBef>
                <a:spcPts val="600"/>
              </a:spcBef>
              <a:buClrTx/>
              <a:buFont typeface="Lucida Grande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8580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287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06500" indent="-177800" algn="l" defTabSz="457200" rtl="0" eaLnBrk="1" latinLnBrk="0" hangingPunct="1">
              <a:spcBef>
                <a:spcPts val="600"/>
              </a:spcBef>
              <a:buClrTx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371600" indent="-165100" algn="l" defTabSz="4572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06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DFCEC-AA52-4E25-AEAA-C91535DBC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Platform Consumption Patter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BC17B1-1AC4-45F0-BB9F-5E05EA5294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Users’ Consumption Zones to interact and build out analytic insights with data</a:t>
            </a:r>
          </a:p>
          <a:p>
            <a:endParaRPr lang="en-US">
              <a:cs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80F0C59-3CB7-49D7-8FFD-999E957AF3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22372"/>
              </p:ext>
            </p:extLst>
          </p:nvPr>
        </p:nvGraphicFramePr>
        <p:xfrm>
          <a:off x="433944" y="1103257"/>
          <a:ext cx="11483818" cy="5204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233">
                  <a:extLst>
                    <a:ext uri="{9D8B030D-6E8A-4147-A177-3AD203B41FA5}">
                      <a16:colId xmlns:a16="http://schemas.microsoft.com/office/drawing/2014/main" val="2714258231"/>
                    </a:ext>
                  </a:extLst>
                </a:gridCol>
                <a:gridCol w="3612391">
                  <a:extLst>
                    <a:ext uri="{9D8B030D-6E8A-4147-A177-3AD203B41FA5}">
                      <a16:colId xmlns:a16="http://schemas.microsoft.com/office/drawing/2014/main" val="3041396023"/>
                    </a:ext>
                  </a:extLst>
                </a:gridCol>
                <a:gridCol w="6465194">
                  <a:extLst>
                    <a:ext uri="{9D8B030D-6E8A-4147-A177-3AD203B41FA5}">
                      <a16:colId xmlns:a16="http://schemas.microsoft.com/office/drawing/2014/main" val="209805464"/>
                    </a:ext>
                  </a:extLst>
                </a:gridCol>
              </a:tblGrid>
              <a:tr h="372118">
                <a:tc>
                  <a:txBody>
                    <a:bodyPr/>
                    <a:lstStyle/>
                    <a:p>
                      <a:r>
                        <a:rPr lang="en-US" sz="1200"/>
                        <a:t>Pat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Consumption Patt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494024"/>
                  </a:ext>
                </a:extLst>
              </a:tr>
              <a:tr h="1085769">
                <a:tc>
                  <a:txBody>
                    <a:bodyPr/>
                    <a:lstStyle/>
                    <a:p>
                      <a:r>
                        <a:rPr lang="en-US" sz="1300"/>
                        <a:t>Data Discovery / Data Sc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Discovery Zone that provides quick access to data (raw viewable, integrated, conformed) and link to existing datasets (3</a:t>
                      </a:r>
                      <a:r>
                        <a:rPr lang="en-US" sz="1300" baseline="30000"/>
                        <a:t>rd</a:t>
                      </a:r>
                      <a:r>
                        <a:rPr lang="en-US" sz="1300"/>
                        <a:t> party or internal) to discover patterns and train models</a:t>
                      </a:r>
                    </a:p>
                    <a:p>
                      <a:endParaRPr lang="en-US" sz="13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3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4455164"/>
                  </a:ext>
                </a:extLst>
              </a:tr>
              <a:tr h="1085769">
                <a:tc>
                  <a:txBody>
                    <a:bodyPr/>
                    <a:lstStyle/>
                    <a:p>
                      <a:r>
                        <a:rPr lang="en-US" sz="1300"/>
                        <a:t>High capacity run-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Processing engine to create output for analytics</a:t>
                      </a:r>
                    </a:p>
                    <a:p>
                      <a:endParaRPr lang="en-US" sz="1300"/>
                    </a:p>
                    <a:p>
                      <a:endParaRPr lang="en-US" sz="1300"/>
                    </a:p>
                    <a:p>
                      <a:endParaRPr lang="en-US" sz="13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3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555493"/>
                  </a:ext>
                </a:extLst>
              </a:tr>
              <a:tr h="886966">
                <a:tc>
                  <a:txBody>
                    <a:bodyPr/>
                    <a:lstStyle/>
                    <a:p>
                      <a:r>
                        <a:rPr lang="en-US" sz="1300"/>
                        <a:t>Advanced 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Ad hoc queries, self-service access to various data that is well described, structured pipeline process that converts transactional data for multiple analytical use cases.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3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878407"/>
                  </a:ext>
                </a:extLst>
              </a:tr>
              <a:tr h="886966">
                <a:tc>
                  <a:txBody>
                    <a:bodyPr/>
                    <a:lstStyle/>
                    <a:p>
                      <a:r>
                        <a:rPr lang="en-US" sz="1300"/>
                        <a:t>Business Intellig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Traditional consumption for reporting, dashboards, and  visualization from purpose-specific datasets</a:t>
                      </a:r>
                    </a:p>
                    <a:p>
                      <a:endParaRPr lang="en-US" sz="13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3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91638"/>
                  </a:ext>
                </a:extLst>
              </a:tr>
              <a:tr h="886966">
                <a:tc>
                  <a:txBody>
                    <a:bodyPr/>
                    <a:lstStyle/>
                    <a:p>
                      <a:r>
                        <a:rPr lang="en-US" sz="1300"/>
                        <a:t>Operational Hu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Aggregation of </a:t>
                      </a:r>
                      <a:r>
                        <a:rPr lang="en-US" sz="1300" err="1"/>
                        <a:t>translytical</a:t>
                      </a:r>
                      <a:r>
                        <a:rPr lang="en-US" sz="1300"/>
                        <a:t>, master, and reference data for customer 360, EPH, </a:t>
                      </a:r>
                      <a:r>
                        <a:rPr lang="en-US" sz="1300" err="1"/>
                        <a:t>etc</a:t>
                      </a:r>
                      <a:endParaRPr lang="en-US" sz="1300"/>
                    </a:p>
                    <a:p>
                      <a:endParaRPr lang="en-US" sz="1300"/>
                    </a:p>
                    <a:p>
                      <a:endParaRPr lang="en-US" sz="13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endParaRPr lang="en-US" sz="13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6937384"/>
                  </a:ext>
                </a:extLst>
              </a:tr>
            </a:tbl>
          </a:graphicData>
        </a:graphic>
      </p:graphicFrame>
      <p:sp>
        <p:nvSpPr>
          <p:cNvPr id="5" name="Arrow: Right 4">
            <a:extLst>
              <a:ext uri="{FF2B5EF4-FFF2-40B4-BE49-F238E27FC236}">
                <a16:creationId xmlns:a16="http://schemas.microsoft.com/office/drawing/2014/main" id="{2478F196-D754-42D6-A3C0-85B7012A0906}"/>
              </a:ext>
            </a:extLst>
          </p:cNvPr>
          <p:cNvSpPr/>
          <p:nvPr/>
        </p:nvSpPr>
        <p:spPr>
          <a:xfrm>
            <a:off x="6666222" y="1447503"/>
            <a:ext cx="1194490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Self Service</a:t>
            </a:r>
          </a:p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Provision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81520C-C263-4F99-B8BA-24D4FFBE5754}"/>
              </a:ext>
            </a:extLst>
          </p:cNvPr>
          <p:cNvSpPr/>
          <p:nvPr/>
        </p:nvSpPr>
        <p:spPr>
          <a:xfrm>
            <a:off x="6436921" y="2139754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formation Delivery</a:t>
            </a:r>
          </a:p>
        </p:txBody>
      </p:sp>
      <p:sp>
        <p:nvSpPr>
          <p:cNvPr id="8" name="Rounded Rectangle 40">
            <a:extLst>
              <a:ext uri="{FF2B5EF4-FFF2-40B4-BE49-F238E27FC236}">
                <a16:creationId xmlns:a16="http://schemas.microsoft.com/office/drawing/2014/main" id="{69E62CD9-78D5-4636-894F-6091D45812B5}"/>
              </a:ext>
            </a:extLst>
          </p:cNvPr>
          <p:cNvSpPr/>
          <p:nvPr/>
        </p:nvSpPr>
        <p:spPr>
          <a:xfrm>
            <a:off x="9450569" y="1563979"/>
            <a:ext cx="1049000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Machine Learning  Training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C5D15D-064B-4F79-AF56-EC0372708011}"/>
              </a:ext>
            </a:extLst>
          </p:cNvPr>
          <p:cNvSpPr/>
          <p:nvPr/>
        </p:nvSpPr>
        <p:spPr>
          <a:xfrm>
            <a:off x="8412916" y="2068421"/>
            <a:ext cx="273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Discovery Zone / Sandbox</a:t>
            </a:r>
          </a:p>
        </p:txBody>
      </p:sp>
      <p:sp>
        <p:nvSpPr>
          <p:cNvPr id="10" name="Rounded Rectangle 40">
            <a:extLst>
              <a:ext uri="{FF2B5EF4-FFF2-40B4-BE49-F238E27FC236}">
                <a16:creationId xmlns:a16="http://schemas.microsoft.com/office/drawing/2014/main" id="{0B3649FE-2DB1-4C4C-8095-0888C8058C3C}"/>
              </a:ext>
            </a:extLst>
          </p:cNvPr>
          <p:cNvSpPr/>
          <p:nvPr/>
        </p:nvSpPr>
        <p:spPr>
          <a:xfrm>
            <a:off x="10590411" y="1563979"/>
            <a:ext cx="1049000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Machine Learning Production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11" name="Rounded Rectangle 40">
            <a:extLst>
              <a:ext uri="{FF2B5EF4-FFF2-40B4-BE49-F238E27FC236}">
                <a16:creationId xmlns:a16="http://schemas.microsoft.com/office/drawing/2014/main" id="{9BA467D4-4197-4C42-AB30-62F5B83CEEB2}"/>
              </a:ext>
            </a:extLst>
          </p:cNvPr>
          <p:cNvSpPr/>
          <p:nvPr/>
        </p:nvSpPr>
        <p:spPr>
          <a:xfrm>
            <a:off x="8430547" y="1563979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Discovery and model development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338A189F-C276-45AB-8A17-AE9071EC5ECC}"/>
              </a:ext>
            </a:extLst>
          </p:cNvPr>
          <p:cNvSpPr/>
          <p:nvPr/>
        </p:nvSpPr>
        <p:spPr>
          <a:xfrm>
            <a:off x="6666222" y="2499567"/>
            <a:ext cx="1194490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API Access</a:t>
            </a:r>
          </a:p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File Extrac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6392A5-FABD-468B-8031-AA29259F5D5D}"/>
              </a:ext>
            </a:extLst>
          </p:cNvPr>
          <p:cNvSpPr/>
          <p:nvPr/>
        </p:nvSpPr>
        <p:spPr>
          <a:xfrm>
            <a:off x="6551571" y="3172128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formation Deliver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309ACF-84A1-454B-924B-DE1252BB3B3B}"/>
              </a:ext>
            </a:extLst>
          </p:cNvPr>
          <p:cNvSpPr/>
          <p:nvPr/>
        </p:nvSpPr>
        <p:spPr>
          <a:xfrm>
            <a:off x="8324345" y="3241462"/>
            <a:ext cx="273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Application Zone</a:t>
            </a:r>
          </a:p>
        </p:txBody>
      </p:sp>
      <p:sp>
        <p:nvSpPr>
          <p:cNvPr id="17" name="Rounded Rectangle 40">
            <a:extLst>
              <a:ext uri="{FF2B5EF4-FFF2-40B4-BE49-F238E27FC236}">
                <a16:creationId xmlns:a16="http://schemas.microsoft.com/office/drawing/2014/main" id="{FD51ABC2-ABD1-474C-8CFF-4979DD7CED9E}"/>
              </a:ext>
            </a:extLst>
          </p:cNvPr>
          <p:cNvSpPr/>
          <p:nvPr/>
        </p:nvSpPr>
        <p:spPr>
          <a:xfrm>
            <a:off x="8582947" y="2675744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High Volume Application processing 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18" name="Rounded Rectangle 40">
            <a:extLst>
              <a:ext uri="{FF2B5EF4-FFF2-40B4-BE49-F238E27FC236}">
                <a16:creationId xmlns:a16="http://schemas.microsoft.com/office/drawing/2014/main" id="{78936203-7710-4B54-98AF-54692DDB289A}"/>
              </a:ext>
            </a:extLst>
          </p:cNvPr>
          <p:cNvSpPr/>
          <p:nvPr/>
        </p:nvSpPr>
        <p:spPr>
          <a:xfrm>
            <a:off x="9644741" y="2652987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Application data pull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7D7AE87-5729-44FD-BD52-D9ACDACB60D8}"/>
              </a:ext>
            </a:extLst>
          </p:cNvPr>
          <p:cNvSpPr/>
          <p:nvPr/>
        </p:nvSpPr>
        <p:spPr>
          <a:xfrm>
            <a:off x="6638742" y="3605426"/>
            <a:ext cx="1194490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Self-Service</a:t>
            </a:r>
          </a:p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Virtualiz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50633A8-A8C0-46CD-83AA-9AEBCBEF3E0D}"/>
              </a:ext>
            </a:extLst>
          </p:cNvPr>
          <p:cNvSpPr/>
          <p:nvPr/>
        </p:nvSpPr>
        <p:spPr>
          <a:xfrm>
            <a:off x="6524091" y="4277987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formation Deliver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1341505-7983-47ED-AC51-32B6B66481AA}"/>
              </a:ext>
            </a:extLst>
          </p:cNvPr>
          <p:cNvSpPr/>
          <p:nvPr/>
        </p:nvSpPr>
        <p:spPr>
          <a:xfrm>
            <a:off x="8537836" y="4241075"/>
            <a:ext cx="273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sights Zone</a:t>
            </a:r>
          </a:p>
        </p:txBody>
      </p:sp>
      <p:sp>
        <p:nvSpPr>
          <p:cNvPr id="23" name="Rounded Rectangle 40">
            <a:extLst>
              <a:ext uri="{FF2B5EF4-FFF2-40B4-BE49-F238E27FC236}">
                <a16:creationId xmlns:a16="http://schemas.microsoft.com/office/drawing/2014/main" id="{094BBABD-67A9-4AB0-96B0-DDF042F490F9}"/>
              </a:ext>
            </a:extLst>
          </p:cNvPr>
          <p:cNvSpPr/>
          <p:nvPr/>
        </p:nvSpPr>
        <p:spPr>
          <a:xfrm>
            <a:off x="8555467" y="3736633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Ad Hoc Queries 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24" name="Rounded Rectangle 40">
            <a:extLst>
              <a:ext uri="{FF2B5EF4-FFF2-40B4-BE49-F238E27FC236}">
                <a16:creationId xmlns:a16="http://schemas.microsoft.com/office/drawing/2014/main" id="{44F149E1-E81E-455F-911E-B16D71FA2AA5}"/>
              </a:ext>
            </a:extLst>
          </p:cNvPr>
          <p:cNvSpPr/>
          <p:nvPr/>
        </p:nvSpPr>
        <p:spPr>
          <a:xfrm>
            <a:off x="9617261" y="3713876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Application processing 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1971772D-90BC-43A6-B15E-1B3B42D075ED}"/>
              </a:ext>
            </a:extLst>
          </p:cNvPr>
          <p:cNvSpPr/>
          <p:nvPr/>
        </p:nvSpPr>
        <p:spPr>
          <a:xfrm>
            <a:off x="6686212" y="4504792"/>
            <a:ext cx="1194490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Self-Service</a:t>
            </a:r>
          </a:p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Virtualiz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D930961-DCD1-4E89-9A78-D625954EB985}"/>
              </a:ext>
            </a:extLst>
          </p:cNvPr>
          <p:cNvSpPr/>
          <p:nvPr/>
        </p:nvSpPr>
        <p:spPr>
          <a:xfrm>
            <a:off x="8615850" y="5197623"/>
            <a:ext cx="273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sights Zone</a:t>
            </a:r>
          </a:p>
        </p:txBody>
      </p:sp>
      <p:sp>
        <p:nvSpPr>
          <p:cNvPr id="27" name="Rounded Rectangle 40">
            <a:extLst>
              <a:ext uri="{FF2B5EF4-FFF2-40B4-BE49-F238E27FC236}">
                <a16:creationId xmlns:a16="http://schemas.microsoft.com/office/drawing/2014/main" id="{902364B4-451A-4372-94FD-40148051256E}"/>
              </a:ext>
            </a:extLst>
          </p:cNvPr>
          <p:cNvSpPr/>
          <p:nvPr/>
        </p:nvSpPr>
        <p:spPr>
          <a:xfrm>
            <a:off x="8602937" y="4713489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Reports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28" name="Rounded Rectangle 40">
            <a:extLst>
              <a:ext uri="{FF2B5EF4-FFF2-40B4-BE49-F238E27FC236}">
                <a16:creationId xmlns:a16="http://schemas.microsoft.com/office/drawing/2014/main" id="{6C056787-62A3-49C4-B6CE-E7A7CA0A16CE}"/>
              </a:ext>
            </a:extLst>
          </p:cNvPr>
          <p:cNvSpPr/>
          <p:nvPr/>
        </p:nvSpPr>
        <p:spPr>
          <a:xfrm>
            <a:off x="9664731" y="4690732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Dashboards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29" name="Rounded Rectangle 40">
            <a:extLst>
              <a:ext uri="{FF2B5EF4-FFF2-40B4-BE49-F238E27FC236}">
                <a16:creationId xmlns:a16="http://schemas.microsoft.com/office/drawing/2014/main" id="{F7F0E941-6C2C-47E3-B31D-4A60BBEDDEF4}"/>
              </a:ext>
            </a:extLst>
          </p:cNvPr>
          <p:cNvSpPr/>
          <p:nvPr/>
        </p:nvSpPr>
        <p:spPr>
          <a:xfrm>
            <a:off x="10727113" y="4713489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Extracts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2F0441F-D1BE-4A93-B5DE-5C6724D2AA5F}"/>
              </a:ext>
            </a:extLst>
          </p:cNvPr>
          <p:cNvSpPr/>
          <p:nvPr/>
        </p:nvSpPr>
        <p:spPr>
          <a:xfrm>
            <a:off x="6526898" y="5152901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formation Delivery</a:t>
            </a:r>
          </a:p>
        </p:txBody>
      </p:sp>
      <p:sp>
        <p:nvSpPr>
          <p:cNvPr id="32" name="Cylinder 31">
            <a:extLst>
              <a:ext uri="{FF2B5EF4-FFF2-40B4-BE49-F238E27FC236}">
                <a16:creationId xmlns:a16="http://schemas.microsoft.com/office/drawing/2014/main" id="{0626386E-DF18-44D5-B9E3-B0662D4E6FD3}"/>
              </a:ext>
            </a:extLst>
          </p:cNvPr>
          <p:cNvSpPr/>
          <p:nvPr/>
        </p:nvSpPr>
        <p:spPr bwMode="gray">
          <a:xfrm>
            <a:off x="5523592" y="1525533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Raw Viewable</a:t>
            </a:r>
          </a:p>
        </p:txBody>
      </p:sp>
      <p:sp>
        <p:nvSpPr>
          <p:cNvPr id="33" name="Cylinder 32">
            <a:extLst>
              <a:ext uri="{FF2B5EF4-FFF2-40B4-BE49-F238E27FC236}">
                <a16:creationId xmlns:a16="http://schemas.microsoft.com/office/drawing/2014/main" id="{DCCDD838-CFCA-466F-BC5A-FF1D70078B77}"/>
              </a:ext>
            </a:extLst>
          </p:cNvPr>
          <p:cNvSpPr/>
          <p:nvPr/>
        </p:nvSpPr>
        <p:spPr bwMode="gray">
          <a:xfrm>
            <a:off x="5507112" y="1999922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Conformed</a:t>
            </a:r>
          </a:p>
        </p:txBody>
      </p:sp>
      <p:sp>
        <p:nvSpPr>
          <p:cNvPr id="34" name="Cylinder 33">
            <a:extLst>
              <a:ext uri="{FF2B5EF4-FFF2-40B4-BE49-F238E27FC236}">
                <a16:creationId xmlns:a16="http://schemas.microsoft.com/office/drawing/2014/main" id="{388E84FF-7578-47AB-841E-63D2B75309E6}"/>
              </a:ext>
            </a:extLst>
          </p:cNvPr>
          <p:cNvSpPr/>
          <p:nvPr/>
        </p:nvSpPr>
        <p:spPr bwMode="gray">
          <a:xfrm>
            <a:off x="5575124" y="2822296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Integrated/ Conformed</a:t>
            </a:r>
          </a:p>
        </p:txBody>
      </p:sp>
      <p:sp>
        <p:nvSpPr>
          <p:cNvPr id="35" name="Cylinder 34">
            <a:extLst>
              <a:ext uri="{FF2B5EF4-FFF2-40B4-BE49-F238E27FC236}">
                <a16:creationId xmlns:a16="http://schemas.microsoft.com/office/drawing/2014/main" id="{60277E61-5E88-4CAE-AC30-4549FA00909D}"/>
              </a:ext>
            </a:extLst>
          </p:cNvPr>
          <p:cNvSpPr/>
          <p:nvPr/>
        </p:nvSpPr>
        <p:spPr bwMode="gray">
          <a:xfrm>
            <a:off x="5547644" y="3858821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Integrated/ Conformed</a:t>
            </a:r>
          </a:p>
        </p:txBody>
      </p:sp>
      <p:sp>
        <p:nvSpPr>
          <p:cNvPr id="36" name="Cylinder 35">
            <a:extLst>
              <a:ext uri="{FF2B5EF4-FFF2-40B4-BE49-F238E27FC236}">
                <a16:creationId xmlns:a16="http://schemas.microsoft.com/office/drawing/2014/main" id="{E96F7EC1-55BF-4BA1-8F5D-8E1FD4D8081E}"/>
              </a:ext>
            </a:extLst>
          </p:cNvPr>
          <p:cNvSpPr/>
          <p:nvPr/>
        </p:nvSpPr>
        <p:spPr bwMode="gray">
          <a:xfrm>
            <a:off x="5547644" y="4776008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Integrated/ Conformed</a:t>
            </a:r>
          </a:p>
        </p:txBody>
      </p:sp>
      <p:sp>
        <p:nvSpPr>
          <p:cNvPr id="37" name="Cylinder 36">
            <a:extLst>
              <a:ext uri="{FF2B5EF4-FFF2-40B4-BE49-F238E27FC236}">
                <a16:creationId xmlns:a16="http://schemas.microsoft.com/office/drawing/2014/main" id="{8DB3AD82-6707-4D81-9BED-C1C0B4A0A124}"/>
              </a:ext>
            </a:extLst>
          </p:cNvPr>
          <p:cNvSpPr/>
          <p:nvPr/>
        </p:nvSpPr>
        <p:spPr bwMode="gray">
          <a:xfrm>
            <a:off x="5603153" y="5648526"/>
            <a:ext cx="737726" cy="419166"/>
          </a:xfrm>
          <a:prstGeom prst="can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bg1"/>
                </a:solidFill>
              </a:rPr>
              <a:t>Integrated/enriched</a:t>
            </a:r>
          </a:p>
        </p:txBody>
      </p:sp>
      <p:sp>
        <p:nvSpPr>
          <p:cNvPr id="39" name="Rounded Rectangle 40">
            <a:extLst>
              <a:ext uri="{FF2B5EF4-FFF2-40B4-BE49-F238E27FC236}">
                <a16:creationId xmlns:a16="http://schemas.microsoft.com/office/drawing/2014/main" id="{F38B57D8-08C3-411A-ABF3-4FBFCBED05C1}"/>
              </a:ext>
            </a:extLst>
          </p:cNvPr>
          <p:cNvSpPr/>
          <p:nvPr/>
        </p:nvSpPr>
        <p:spPr>
          <a:xfrm>
            <a:off x="8992966" y="5540554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Applications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40" name="Rounded Rectangle 40">
            <a:extLst>
              <a:ext uri="{FF2B5EF4-FFF2-40B4-BE49-F238E27FC236}">
                <a16:creationId xmlns:a16="http://schemas.microsoft.com/office/drawing/2014/main" id="{0366FC9D-3B12-46CA-80B1-505D6B8A3439}"/>
              </a:ext>
            </a:extLst>
          </p:cNvPr>
          <p:cNvSpPr/>
          <p:nvPr/>
        </p:nvSpPr>
        <p:spPr>
          <a:xfrm>
            <a:off x="10055348" y="5540554"/>
            <a:ext cx="929181" cy="504442"/>
          </a:xfrm>
          <a:prstGeom prst="roundRect">
            <a:avLst>
              <a:gd name="adj" fmla="val 977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ea typeface="IBM Plex Sans Medium" charset="0"/>
                <a:cs typeface="IBM Plex Sans Medium" charset="0"/>
              </a:rPr>
              <a:t>Digital channels</a:t>
            </a:r>
            <a:endParaRPr lang="en-US" sz="1200" b="1">
              <a:solidFill>
                <a:schemeClr val="tx1"/>
              </a:solidFill>
              <a:ea typeface="IBM Plex Sans Medium" charset="0"/>
              <a:cs typeface="IBM Plex Sans Medium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B5DE69CB-FEB7-4B1E-B8B1-3A7373C79885}"/>
              </a:ext>
            </a:extLst>
          </p:cNvPr>
          <p:cNvSpPr/>
          <p:nvPr/>
        </p:nvSpPr>
        <p:spPr>
          <a:xfrm>
            <a:off x="6699125" y="5416607"/>
            <a:ext cx="1194490" cy="818147"/>
          </a:xfrm>
          <a:prstGeom prst="rightArrow">
            <a:avLst/>
          </a:prstGeom>
          <a:solidFill>
            <a:srgbClr val="00A78E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API Access</a:t>
            </a:r>
          </a:p>
          <a:p>
            <a:pPr algn="ctr"/>
            <a:r>
              <a:rPr lang="en-US" sz="1100">
                <a:solidFill>
                  <a:schemeClr val="tx1"/>
                </a:solidFill>
                <a:cs typeface="Open Sans Bold"/>
              </a:rPr>
              <a:t>Virtualiz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CD20603-A09E-4D0C-9C6A-7BFAFF9F8E1E}"/>
              </a:ext>
            </a:extLst>
          </p:cNvPr>
          <p:cNvSpPr/>
          <p:nvPr/>
        </p:nvSpPr>
        <p:spPr>
          <a:xfrm>
            <a:off x="6539811" y="6064716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Information Deliver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446BB00-132B-4D48-BFB2-2D62E28B6516}"/>
              </a:ext>
            </a:extLst>
          </p:cNvPr>
          <p:cNvSpPr/>
          <p:nvPr/>
        </p:nvSpPr>
        <p:spPr>
          <a:xfrm>
            <a:off x="8768250" y="6016446"/>
            <a:ext cx="273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>
                <a:cs typeface="Open Sans Bold"/>
              </a:rPr>
              <a:t>Operational Zone</a:t>
            </a:r>
          </a:p>
        </p:txBody>
      </p:sp>
    </p:spTree>
    <p:extLst>
      <p:ext uri="{BB962C8B-B14F-4D97-AF65-F5344CB8AC3E}">
        <p14:creationId xmlns:p14="http://schemas.microsoft.com/office/powerpoint/2010/main" val="28324006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63615-7511-47EE-8B2B-EED37CD85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06840F-267B-441C-9289-7F36F99DE9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5403" y="692001"/>
            <a:ext cx="9687861" cy="422275"/>
          </a:xfrm>
        </p:spPr>
        <p:txBody>
          <a:bodyPr/>
          <a:lstStyle/>
          <a:p>
            <a:r>
              <a:rPr lang="en-US"/>
              <a:t>Data Catalog and metadata ties the ecosystem of data lake, data warehouses, and operational data enabling self-service access to enterprise data. </a:t>
            </a:r>
          </a:p>
        </p:txBody>
      </p:sp>
      <p:sp>
        <p:nvSpPr>
          <p:cNvPr id="4" name="Cloud 3">
            <a:extLst>
              <a:ext uri="{FF2B5EF4-FFF2-40B4-BE49-F238E27FC236}">
                <a16:creationId xmlns:a16="http://schemas.microsoft.com/office/drawing/2014/main" id="{C782244C-BD48-4119-AF70-C890E41B60D8}"/>
              </a:ext>
            </a:extLst>
          </p:cNvPr>
          <p:cNvSpPr/>
          <p:nvPr/>
        </p:nvSpPr>
        <p:spPr bwMode="gray">
          <a:xfrm>
            <a:off x="5659106" y="3386058"/>
            <a:ext cx="2680167" cy="1611453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-premise</a:t>
            </a:r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3078C3B0-CC47-4B87-82E9-35FB5FA50803}"/>
              </a:ext>
            </a:extLst>
          </p:cNvPr>
          <p:cNvSpPr/>
          <p:nvPr/>
        </p:nvSpPr>
        <p:spPr bwMode="gray">
          <a:xfrm>
            <a:off x="2810485" y="2890180"/>
            <a:ext cx="2349224" cy="1389172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ublic Cloud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15B292D5-701A-4942-9DB0-E0ABA824231F}"/>
              </a:ext>
            </a:extLst>
          </p:cNvPr>
          <p:cNvSpPr/>
          <p:nvPr/>
        </p:nvSpPr>
        <p:spPr bwMode="gray">
          <a:xfrm>
            <a:off x="3254713" y="4601418"/>
            <a:ext cx="2263767" cy="1208827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ublic Clou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6FDDD41-C6D4-46A5-9362-705F8AA81BEB}"/>
              </a:ext>
            </a:extLst>
          </p:cNvPr>
          <p:cNvSpPr/>
          <p:nvPr/>
        </p:nvSpPr>
        <p:spPr bwMode="gray">
          <a:xfrm>
            <a:off x="6088145" y="3933833"/>
            <a:ext cx="1822090" cy="389168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perational Data Zone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Data Hub</a:t>
            </a:r>
          </a:p>
        </p:txBody>
      </p:sp>
      <p:sp>
        <p:nvSpPr>
          <p:cNvPr id="8" name="Rounded Rectangle 27">
            <a:extLst>
              <a:ext uri="{FF2B5EF4-FFF2-40B4-BE49-F238E27FC236}">
                <a16:creationId xmlns:a16="http://schemas.microsoft.com/office/drawing/2014/main" id="{68ED56A0-F641-4085-887B-7F54BC451333}"/>
              </a:ext>
            </a:extLst>
          </p:cNvPr>
          <p:cNvSpPr/>
          <p:nvPr/>
        </p:nvSpPr>
        <p:spPr>
          <a:xfrm>
            <a:off x="2810485" y="1834719"/>
            <a:ext cx="7415169" cy="391254"/>
          </a:xfrm>
          <a:prstGeom prst="roundRect">
            <a:avLst>
              <a:gd name="adj" fmla="val 6391"/>
            </a:avLst>
          </a:prstGeom>
          <a:ln>
            <a:solidFill>
              <a:srgbClr val="00859B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180000" bIns="0" rtlCol="0" anchor="t">
            <a:no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  <a:t>Data Catalog/Metadata Capture/ Data Lifecycle Management</a:t>
            </a:r>
          </a:p>
          <a:p>
            <a:pPr algn="ctr"/>
            <a:br>
              <a:rPr lang="en-US" sz="1000">
                <a:solidFill>
                  <a:schemeClr val="tx1"/>
                </a:solidFill>
                <a:ea typeface="IBM Plex Sans SemiBold" charset="0"/>
                <a:cs typeface="IBM Plex Sans SemiBold" charset="0"/>
              </a:rPr>
            </a:br>
            <a:endParaRPr lang="en-US" sz="1000">
              <a:solidFill>
                <a:schemeClr val="tx1"/>
              </a:solidFill>
              <a:ea typeface="IBM Plex Sans SemiBold" charset="0"/>
              <a:cs typeface="IBM Plex Sans SemiBold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3179986-0C88-4224-AE3D-5D6FF58826B9}"/>
              </a:ext>
            </a:extLst>
          </p:cNvPr>
          <p:cNvSpPr/>
          <p:nvPr/>
        </p:nvSpPr>
        <p:spPr bwMode="gray">
          <a:xfrm>
            <a:off x="3766648" y="5179865"/>
            <a:ext cx="1627322" cy="339933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iscovery Zone - Data Lak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ADA27CA-592A-4EC1-B4BE-24D4D6D840E0}"/>
              </a:ext>
            </a:extLst>
          </p:cNvPr>
          <p:cNvSpPr/>
          <p:nvPr/>
        </p:nvSpPr>
        <p:spPr bwMode="gray">
          <a:xfrm>
            <a:off x="3071468" y="3471813"/>
            <a:ext cx="1607059" cy="547972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Insights Data Zone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Data Warehouses/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Data Mart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475933F-E0FF-49B8-8016-D15934CBE03E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4066618" y="2225973"/>
            <a:ext cx="2451452" cy="702338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6EFB3D3-FA5D-459C-96AF-3980DA26A184}"/>
              </a:ext>
            </a:extLst>
          </p:cNvPr>
          <p:cNvSpPr/>
          <p:nvPr/>
        </p:nvSpPr>
        <p:spPr bwMode="gray">
          <a:xfrm>
            <a:off x="6244821" y="4369548"/>
            <a:ext cx="1470692" cy="407696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Discovery Zone - Data Lak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730646-272E-4D76-A494-418CF867483A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4873060" y="2225973"/>
            <a:ext cx="1645010" cy="2406055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BDF767A-F0A5-4E19-A138-9CC73A289ADB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6518070" y="2225973"/>
            <a:ext cx="371245" cy="1211840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loud 15">
            <a:extLst>
              <a:ext uri="{FF2B5EF4-FFF2-40B4-BE49-F238E27FC236}">
                <a16:creationId xmlns:a16="http://schemas.microsoft.com/office/drawing/2014/main" id="{8094175C-B48A-4779-BE1B-1F276E23E1E7}"/>
              </a:ext>
            </a:extLst>
          </p:cNvPr>
          <p:cNvSpPr/>
          <p:nvPr/>
        </p:nvSpPr>
        <p:spPr bwMode="gray">
          <a:xfrm>
            <a:off x="7938989" y="4297824"/>
            <a:ext cx="2680167" cy="1611453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-premis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A38ED4B-07C9-4BD6-965C-BC53F4251B76}"/>
              </a:ext>
            </a:extLst>
          </p:cNvPr>
          <p:cNvSpPr/>
          <p:nvPr/>
        </p:nvSpPr>
        <p:spPr bwMode="gray">
          <a:xfrm>
            <a:off x="8475542" y="4925787"/>
            <a:ext cx="1607059" cy="547972"/>
          </a:xfrm>
          <a:prstGeom prst="roundRect">
            <a:avLst/>
          </a:prstGeom>
          <a:solidFill>
            <a:srgbClr val="00A78E">
              <a:alpha val="68000"/>
            </a:srgbClr>
          </a:solidFill>
          <a:ln>
            <a:solidFill>
              <a:srgbClr val="00859B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Insights Data Zone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Data Warehouses/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Data Mart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C954EF4-55FD-457E-9D28-58EEA68FC296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6518070" y="2225973"/>
            <a:ext cx="3192966" cy="2053379"/>
          </a:xfrm>
          <a:prstGeom prst="straightConnector1">
            <a:avLst/>
          </a:prstGeom>
          <a:ln w="12700" cmpd="sng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04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loud 26">
            <a:extLst>
              <a:ext uri="{FF2B5EF4-FFF2-40B4-BE49-F238E27FC236}">
                <a16:creationId xmlns:a16="http://schemas.microsoft.com/office/drawing/2014/main" id="{1E0FAA8C-DB77-4DAF-AEE6-455E598A0686}"/>
              </a:ext>
            </a:extLst>
          </p:cNvPr>
          <p:cNvSpPr/>
          <p:nvPr/>
        </p:nvSpPr>
        <p:spPr bwMode="gray">
          <a:xfrm>
            <a:off x="1876923" y="4460580"/>
            <a:ext cx="4080509" cy="1285403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ublic Cloud</a:t>
            </a:r>
          </a:p>
        </p:txBody>
      </p:sp>
      <p:sp>
        <p:nvSpPr>
          <p:cNvPr id="4" name="Cloud 3">
            <a:extLst>
              <a:ext uri="{FF2B5EF4-FFF2-40B4-BE49-F238E27FC236}">
                <a16:creationId xmlns:a16="http://schemas.microsoft.com/office/drawing/2014/main" id="{2D9915DD-980F-4857-A02C-C7AEA3C3168D}"/>
              </a:ext>
            </a:extLst>
          </p:cNvPr>
          <p:cNvSpPr/>
          <p:nvPr/>
        </p:nvSpPr>
        <p:spPr bwMode="gray">
          <a:xfrm>
            <a:off x="1145509" y="4425768"/>
            <a:ext cx="4080509" cy="1285403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ublic Cloud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DB024A-D29F-435D-8FE4-43207B0C7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7D5AD-53DF-483A-9F18-BDA00941F6F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 sz="2000"/>
              <a:t>Data Platform is an ecosystem of technology managed holistically. 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4BE12D3-81CF-4188-A528-B36F8AC539B1}"/>
              </a:ext>
            </a:extLst>
          </p:cNvPr>
          <p:cNvSpPr/>
          <p:nvPr/>
        </p:nvSpPr>
        <p:spPr bwMode="gray">
          <a:xfrm>
            <a:off x="520619" y="1283256"/>
            <a:ext cx="899661" cy="233694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>
                <a:solidFill>
                  <a:schemeClr val="tx1"/>
                </a:solidFill>
              </a:rPr>
              <a:t>CVS Business Systems</a:t>
            </a:r>
          </a:p>
          <a:p>
            <a:pPr algn="ctr"/>
            <a:endParaRPr lang="en-US" sz="1200" b="1">
              <a:solidFill>
                <a:schemeClr val="tx1"/>
              </a:solidFill>
            </a:endParaRPr>
          </a:p>
          <a:p>
            <a:pPr algn="ctr"/>
            <a:r>
              <a:rPr lang="en-US" sz="1200" b="1">
                <a:solidFill>
                  <a:schemeClr val="tx1"/>
                </a:solidFill>
              </a:rPr>
              <a:t>External Data Source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EE27D21-9117-4187-9412-2533A78BC0A8}"/>
              </a:ext>
            </a:extLst>
          </p:cNvPr>
          <p:cNvCxnSpPr>
            <a:cxnSpLocks/>
            <a:stCxn id="66" idx="2"/>
            <a:endCxn id="4" idx="3"/>
          </p:cNvCxnSpPr>
          <p:nvPr/>
        </p:nvCxnSpPr>
        <p:spPr bwMode="gray">
          <a:xfrm flipH="1">
            <a:off x="3185764" y="3142578"/>
            <a:ext cx="3807764" cy="1356684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Box 178">
            <a:extLst>
              <a:ext uri="{FF2B5EF4-FFF2-40B4-BE49-F238E27FC236}">
                <a16:creationId xmlns:a16="http://schemas.microsoft.com/office/drawing/2014/main" id="{F9CFA636-1900-46B4-9347-04F6535E5FAC}"/>
              </a:ext>
            </a:extLst>
          </p:cNvPr>
          <p:cNvSpPr txBox="1"/>
          <p:nvPr/>
        </p:nvSpPr>
        <p:spPr>
          <a:xfrm>
            <a:off x="6047111" y="1012461"/>
            <a:ext cx="7275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Future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DD69F45-5659-4609-93A7-65E56989F0B9}"/>
              </a:ext>
            </a:extLst>
          </p:cNvPr>
          <p:cNvSpPr/>
          <p:nvPr/>
        </p:nvSpPr>
        <p:spPr>
          <a:xfrm>
            <a:off x="559910" y="5905757"/>
            <a:ext cx="10498446" cy="58477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1"/>
            <a:r>
              <a:rPr lang="en-US" sz="1600">
                <a:latin typeface="Calibri"/>
                <a:ea typeface="Times New Roman" panose="02020603050405020304" pitchFamily="18" charset="0"/>
                <a:cs typeface="Calibri"/>
              </a:rPr>
              <a:t>Ecosystem of connected data lake, data warehouses, operational data, customer 360, and reference data all managed through a common set of services to enable self-service access to enterprise data. 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0" name="Cloud 39">
            <a:extLst>
              <a:ext uri="{FF2B5EF4-FFF2-40B4-BE49-F238E27FC236}">
                <a16:creationId xmlns:a16="http://schemas.microsoft.com/office/drawing/2014/main" id="{20EE9D9D-C12F-448B-A127-58ADE095173E}"/>
              </a:ext>
            </a:extLst>
          </p:cNvPr>
          <p:cNvSpPr/>
          <p:nvPr/>
        </p:nvSpPr>
        <p:spPr bwMode="gray">
          <a:xfrm>
            <a:off x="6316449" y="4387838"/>
            <a:ext cx="4630951" cy="1285403"/>
          </a:xfrm>
          <a:prstGeom prst="cloud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 Premise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12E4AA7-80A3-4847-838E-BA60A5709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4299" y="4903609"/>
            <a:ext cx="783242" cy="25386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chemeClr val="tx2"/>
            </a:solidFill>
          </a:ln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641A080A-2DD4-4A9E-9550-0A92159B0D60}"/>
              </a:ext>
            </a:extLst>
          </p:cNvPr>
          <p:cNvSpPr/>
          <p:nvPr/>
        </p:nvSpPr>
        <p:spPr bwMode="gray">
          <a:xfrm>
            <a:off x="466662" y="4036739"/>
            <a:ext cx="11132023" cy="1670561"/>
          </a:xfrm>
          <a:prstGeom prst="rect">
            <a:avLst/>
          </a:prstGeom>
          <a:noFill/>
          <a:ln w="57150">
            <a:solidFill>
              <a:schemeClr val="accent1"/>
            </a:solidFill>
            <a:prstDash val="dash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63BB48A0-861C-442D-A484-D8D9C5B88B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5559" y="5129768"/>
            <a:ext cx="783242" cy="25386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chemeClr val="tx2"/>
            </a:solidFill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F32E0F47-38FA-4B4B-AE7E-30B5DB36DB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3747" y="4964004"/>
            <a:ext cx="783242" cy="25386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chemeClr val="tx2"/>
            </a:solidFill>
          </a:ln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D51D4A14-10C2-4BB0-AA32-52F79D324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172" y="5265715"/>
            <a:ext cx="783242" cy="25386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chemeClr val="tx2"/>
            </a:solidFill>
          </a:ln>
        </p:spPr>
      </p:pic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F635E89-132B-4B5C-9B04-7AC4D6596A56}"/>
              </a:ext>
            </a:extLst>
          </p:cNvPr>
          <p:cNvSpPr/>
          <p:nvPr/>
        </p:nvSpPr>
        <p:spPr bwMode="gray">
          <a:xfrm>
            <a:off x="7300081" y="5070140"/>
            <a:ext cx="955201" cy="322309"/>
          </a:xfrm>
          <a:prstGeom prst="round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chemeClr val="tx1"/>
                </a:solidFill>
              </a:rPr>
              <a:t>Provision sandboxes 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9AF94888-5511-46C2-A7C2-34A410F15942}"/>
              </a:ext>
            </a:extLst>
          </p:cNvPr>
          <p:cNvSpPr/>
          <p:nvPr/>
        </p:nvSpPr>
        <p:spPr bwMode="gray">
          <a:xfrm>
            <a:off x="3327703" y="5079090"/>
            <a:ext cx="955201" cy="322309"/>
          </a:xfrm>
          <a:prstGeom prst="round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schemeClr val="tx1"/>
                </a:solidFill>
              </a:rPr>
              <a:t>Provision sandboxe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6D25C36-F50B-4BF6-9F48-0755AD8BD57E}"/>
              </a:ext>
            </a:extLst>
          </p:cNvPr>
          <p:cNvSpPr/>
          <p:nvPr/>
        </p:nvSpPr>
        <p:spPr bwMode="gray">
          <a:xfrm>
            <a:off x="2774413" y="1472016"/>
            <a:ext cx="8438229" cy="1670562"/>
          </a:xfrm>
          <a:prstGeom prst="rect">
            <a:avLst/>
          </a:prstGeom>
          <a:ln w="38100"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ybrid Cloud Data Management 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7FBC4E-DD1B-4820-8E16-51C59D9B6459}"/>
              </a:ext>
            </a:extLst>
          </p:cNvPr>
          <p:cNvSpPr/>
          <p:nvPr/>
        </p:nvSpPr>
        <p:spPr>
          <a:xfrm>
            <a:off x="466662" y="4000571"/>
            <a:ext cx="2719102" cy="307777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6758" fontAlgn="base">
              <a:spcBef>
                <a:spcPts val="1200"/>
              </a:spcBef>
            </a:pPr>
            <a:r>
              <a:rPr lang="en-US" sz="14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Open Sans Light"/>
              </a:rPr>
              <a:t>Multi-consumption zones</a:t>
            </a:r>
            <a:endParaRPr lang="en-US" sz="1400">
              <a:ln w="0"/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cs typeface="Open Sans Ligh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D49C6EA-296F-46AD-AF2A-F18E518CE53F}"/>
              </a:ext>
            </a:extLst>
          </p:cNvPr>
          <p:cNvSpPr/>
          <p:nvPr/>
        </p:nvSpPr>
        <p:spPr bwMode="gray">
          <a:xfrm>
            <a:off x="4560409" y="1971141"/>
            <a:ext cx="1515502" cy="737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a Catalog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F76AABC-6365-4B05-835E-AB496C06AF90}"/>
              </a:ext>
            </a:extLst>
          </p:cNvPr>
          <p:cNvSpPr/>
          <p:nvPr/>
        </p:nvSpPr>
        <p:spPr bwMode="gray">
          <a:xfrm>
            <a:off x="6221224" y="1971141"/>
            <a:ext cx="1515502" cy="737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a Managemen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0C9EB68-D8BE-4DB3-8D75-C06EB4FFB377}"/>
              </a:ext>
            </a:extLst>
          </p:cNvPr>
          <p:cNvSpPr/>
          <p:nvPr/>
        </p:nvSpPr>
        <p:spPr bwMode="gray">
          <a:xfrm>
            <a:off x="7882039" y="1971141"/>
            <a:ext cx="1515502" cy="737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curity &amp; Complianc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2E87825-FF9F-488A-9ACD-646B64158FDD}"/>
              </a:ext>
            </a:extLst>
          </p:cNvPr>
          <p:cNvSpPr/>
          <p:nvPr/>
        </p:nvSpPr>
        <p:spPr bwMode="gray">
          <a:xfrm>
            <a:off x="9542854" y="1971141"/>
            <a:ext cx="1515502" cy="737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a Governance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E0C7361C-CA6C-45D6-8579-16FBF5CC8876}"/>
              </a:ext>
            </a:extLst>
          </p:cNvPr>
          <p:cNvCxnSpPr>
            <a:cxnSpLocks/>
            <a:stCxn id="66" idx="2"/>
            <a:endCxn id="40" idx="3"/>
          </p:cNvCxnSpPr>
          <p:nvPr/>
        </p:nvCxnSpPr>
        <p:spPr bwMode="gray">
          <a:xfrm>
            <a:off x="6993528" y="3142578"/>
            <a:ext cx="1638397" cy="1318754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C5595A3D-8C4D-4A33-BFB3-A4F889753473}"/>
              </a:ext>
            </a:extLst>
          </p:cNvPr>
          <p:cNvCxnSpPr>
            <a:cxnSpLocks/>
          </p:cNvCxnSpPr>
          <p:nvPr/>
        </p:nvCxnSpPr>
        <p:spPr bwMode="gray">
          <a:xfrm>
            <a:off x="1412266" y="2357533"/>
            <a:ext cx="1207861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FDDA3715-2872-4BA2-9C9A-AA2A96802A92}"/>
              </a:ext>
            </a:extLst>
          </p:cNvPr>
          <p:cNvSpPr/>
          <p:nvPr/>
        </p:nvSpPr>
        <p:spPr bwMode="gray">
          <a:xfrm>
            <a:off x="2830600" y="2780750"/>
            <a:ext cx="8227756" cy="298193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loud Management</a:t>
            </a: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C8E0C37-FCAF-492A-AA75-D5B2A13AC7D5}"/>
              </a:ext>
            </a:extLst>
          </p:cNvPr>
          <p:cNvSpPr/>
          <p:nvPr/>
        </p:nvSpPr>
        <p:spPr bwMode="gray">
          <a:xfrm>
            <a:off x="2899594" y="1962208"/>
            <a:ext cx="1515502" cy="737536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a Ingestion</a:t>
            </a:r>
          </a:p>
        </p:txBody>
      </p:sp>
    </p:spTree>
    <p:extLst>
      <p:ext uri="{BB962C8B-B14F-4D97-AF65-F5344CB8AC3E}">
        <p14:creationId xmlns:p14="http://schemas.microsoft.com/office/powerpoint/2010/main" val="3974141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740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cessary Action (1 of  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8" y="679475"/>
            <a:ext cx="10099561" cy="622560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sed on the results of this analysis, Data Platform needs a product-based funding model and data availability plan that is business-led.  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704976" y="4217991"/>
            <a:ext cx="10654709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5070392" y="2395748"/>
            <a:ext cx="69045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0" lvl="1" indent="-12700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Implement a product-based funding model to enable proactively building the Data Platform and managed by business-driven product council.  This will drive synergies across CVS and reduce redundant work efforts. </a:t>
            </a:r>
          </a:p>
          <a:p>
            <a:pPr marL="127000" lvl="1" indent="-12700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Arial" panose="020B0604020202020204" pitchFamily="34" charset="0"/>
                <a:sym typeface="Arial" panose="020B0604020202020204" pitchFamily="34" charset="0"/>
              </a:rPr>
              <a:t>Launch the Product Council to involve business manage the program, and product capabilities. 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6098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pability Are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006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Scope</a:t>
            </a:r>
            <a:endParaRPr lang="en-US" sz="1600" b="1" baseline="300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3129783" y="4563914"/>
            <a:ext cx="1428149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Proactive and On Demand Data Planning</a:t>
            </a:r>
            <a:endParaRPr lang="en-US" sz="1000" b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 rot="5400000">
            <a:off x="5046009" y="3246480"/>
            <a:ext cx="182880" cy="18216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060867" y="4617847"/>
            <a:ext cx="6904539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Identify and plan for data content required in platform aligning with business initiatives.  Build the data ingestion roadmap to proactively support these business needs. Define the enterprise data model assets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</a:rPr>
              <a:t>Launch Data Stewardship Group with business to define and enforce data policies and rules that protect the data integrity and enforce the security and compliance requirements.   </a:t>
            </a:r>
          </a:p>
        </p:txBody>
      </p:sp>
      <p:sp>
        <p:nvSpPr>
          <p:cNvPr id="26" name="Oval 25"/>
          <p:cNvSpPr/>
          <p:nvPr/>
        </p:nvSpPr>
        <p:spPr>
          <a:xfrm rot="5400000">
            <a:off x="5046071" y="4690162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 rot="5400000">
            <a:off x="5061061" y="5497429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2250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cessary Actions</a:t>
            </a:r>
          </a:p>
        </p:txBody>
      </p:sp>
      <p:sp>
        <p:nvSpPr>
          <p:cNvPr id="35" name="Rectangle: Rounded Corners 88">
            <a:extLst>
              <a:ext uri="{FF2B5EF4-FFF2-40B4-BE49-F238E27FC236}">
                <a16:creationId xmlns:a16="http://schemas.microsoft.com/office/drawing/2014/main" id="{DB5F5952-110C-439E-9C91-D12812D37E64}"/>
              </a:ext>
            </a:extLst>
          </p:cNvPr>
          <p:cNvSpPr/>
          <p:nvPr/>
        </p:nvSpPr>
        <p:spPr>
          <a:xfrm>
            <a:off x="3118457" y="5230991"/>
            <a:ext cx="1428149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Data Stewardship</a:t>
            </a:r>
          </a:p>
          <a:p>
            <a:pPr algn="ctr"/>
            <a:r>
              <a:rPr lang="en-US" sz="1000" b="1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81C1B47-10D4-434C-8107-E7076461C2D9}"/>
              </a:ext>
            </a:extLst>
          </p:cNvPr>
          <p:cNvSpPr/>
          <p:nvPr/>
        </p:nvSpPr>
        <p:spPr>
          <a:xfrm rot="5400000">
            <a:off x="5046009" y="2485562"/>
            <a:ext cx="182880" cy="18216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A13059-B1A1-4E19-AB0B-1A360450C695}"/>
              </a:ext>
            </a:extLst>
          </p:cNvPr>
          <p:cNvGrpSpPr/>
          <p:nvPr/>
        </p:nvGrpSpPr>
        <p:grpSpPr>
          <a:xfrm>
            <a:off x="328457" y="2423897"/>
            <a:ext cx="1913417" cy="1285531"/>
            <a:chOff x="220267" y="1812011"/>
            <a:chExt cx="1394605" cy="69606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BCF55D-0C5D-45C4-B981-A07DD76C7C0B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26">
                <a:defRPr/>
              </a:pPr>
              <a:endParaRPr lang="en-US" sz="1000" b="1" kern="0">
                <a:solidFill>
                  <a:prstClr val="white"/>
                </a:solidFill>
                <a:latin typeface="Arial" panose="020B0604020202020204" pitchFamily="34" charset="0"/>
                <a:ea typeface="Georgia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DD5CCA6-9C94-4395-B8D6-58826326E1BA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45708" rIns="45708" rtlCol="0" anchor="ctr"/>
            <a:lstStyle/>
            <a:p>
              <a:pPr algn="ctr" defTabSz="914126"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Arial" panose="020B0604020202020204" pitchFamily="34" charset="0"/>
                  <a:ea typeface="Georgia" charset="0"/>
                  <a:cs typeface="Arial" panose="020B0604020202020204" pitchFamily="34" charset="0"/>
                  <a:sym typeface="Arial" panose="020B0604020202020204" pitchFamily="34" charset="0"/>
                </a:rPr>
                <a:t>Funding Model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DB9F268-A963-498B-A455-94DB2F1C461C}"/>
              </a:ext>
            </a:extLst>
          </p:cNvPr>
          <p:cNvGrpSpPr/>
          <p:nvPr/>
        </p:nvGrpSpPr>
        <p:grpSpPr>
          <a:xfrm>
            <a:off x="371090" y="4492189"/>
            <a:ext cx="1913417" cy="1285531"/>
            <a:chOff x="220267" y="1812011"/>
            <a:chExt cx="1394605" cy="69606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A32DEC8-5F5B-4986-97D9-DB5F1589F581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26">
                <a:defRPr/>
              </a:pPr>
              <a:endParaRPr lang="en-US" sz="1000" b="1" kern="0">
                <a:solidFill>
                  <a:prstClr val="white"/>
                </a:solidFill>
                <a:latin typeface="Arial" panose="020B0604020202020204" pitchFamily="34" charset="0"/>
                <a:ea typeface="Georgia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E4D8875-8110-4A47-B729-9254624B6D6D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45708" rIns="45708" rtlCol="0" anchor="ctr"/>
            <a:lstStyle/>
            <a:p>
              <a:pPr algn="ctr" defTabSz="914126"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Arial" panose="020B0604020202020204" pitchFamily="34" charset="0"/>
                  <a:ea typeface="Georgia" charset="0"/>
                  <a:cs typeface="Arial" panose="020B0604020202020204" pitchFamily="34" charset="0"/>
                  <a:sym typeface="Arial" panose="020B0604020202020204" pitchFamily="34" charset="0"/>
                </a:rPr>
                <a:t>Data Plan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0028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91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cessary Action (2 of  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ments in data governance, management and delivery are needed to provide self service access to data for CVSH. 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098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pability Are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006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Scop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25047" y="1744726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cessary Actions</a:t>
            </a:r>
          </a:p>
        </p:txBody>
      </p:sp>
      <p:sp>
        <p:nvSpPr>
          <p:cNvPr id="17" name="Rectangle: Rounded Corners 86">
            <a:extLst>
              <a:ext uri="{FF2B5EF4-FFF2-40B4-BE49-F238E27FC236}">
                <a16:creationId xmlns:a16="http://schemas.microsoft.com/office/drawing/2014/main" id="{F491920A-0562-420D-981D-E0F8B99A1CEB}"/>
              </a:ext>
            </a:extLst>
          </p:cNvPr>
          <p:cNvSpPr/>
          <p:nvPr/>
        </p:nvSpPr>
        <p:spPr>
          <a:xfrm>
            <a:off x="3129696" y="2201953"/>
            <a:ext cx="1187472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Product Services</a:t>
            </a:r>
          </a:p>
        </p:txBody>
      </p:sp>
      <p:sp>
        <p:nvSpPr>
          <p:cNvPr id="19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3108753" y="4489667"/>
            <a:ext cx="1187472" cy="73310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Technology</a:t>
            </a:r>
          </a:p>
        </p:txBody>
      </p:sp>
      <p:sp>
        <p:nvSpPr>
          <p:cNvPr id="20" name="Rectangle: Rounded Corners 86">
            <a:extLst>
              <a:ext uri="{FF2B5EF4-FFF2-40B4-BE49-F238E27FC236}">
                <a16:creationId xmlns:a16="http://schemas.microsoft.com/office/drawing/2014/main" id="{F491920A-0562-420D-981D-E0F8B99A1CEB}"/>
              </a:ext>
            </a:extLst>
          </p:cNvPr>
          <p:cNvSpPr/>
          <p:nvPr/>
        </p:nvSpPr>
        <p:spPr>
          <a:xfrm>
            <a:off x="3108753" y="3384682"/>
            <a:ext cx="1187472" cy="73310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Data Delivery and Consumptio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23291" y="2076248"/>
            <a:ext cx="6904539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Align on product services and the enhancements to existing services, and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Define the implementation roadmap, prioritizing data ingestion and governance.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Ingestion Service:  Align disparate data intake processes to reduce data duplication and improve integrity of data available to business.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Implement the Data Catalog, automating the capture of information that  provides business with details of what data is available in the Platform. </a:t>
            </a:r>
          </a:p>
        </p:txBody>
      </p:sp>
      <p:sp>
        <p:nvSpPr>
          <p:cNvPr id="26" name="Oval 25"/>
          <p:cNvSpPr/>
          <p:nvPr/>
        </p:nvSpPr>
        <p:spPr>
          <a:xfrm rot="5400000">
            <a:off x="5050831" y="2150658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 rot="5400000">
            <a:off x="5050831" y="2528479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023291" y="3972744"/>
            <a:ext cx="690453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Implement Data Consumption Zones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Data Discovery for Data Scientists enabling self-service provisioning and fast access to data ant tools </a:t>
            </a:r>
          </a:p>
          <a:p>
            <a:pPr marL="628650" lvl="1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Data Insights for BI/Reporting Engagement platform consolidating the current disparate platforms to power data insights through reporting.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/>
              <a:t>Define and implement an enterprise approach to extending the Data Platform to leverage the cloud.</a:t>
            </a:r>
          </a:p>
        </p:txBody>
      </p:sp>
      <p:sp>
        <p:nvSpPr>
          <p:cNvPr id="38" name="Rectangle: Rounded Corners 80">
            <a:extLst>
              <a:ext uri="{FF2B5EF4-FFF2-40B4-BE49-F238E27FC236}">
                <a16:creationId xmlns:a16="http://schemas.microsoft.com/office/drawing/2014/main" id="{3D3C48C0-18AE-48BD-8153-5C58429BBB73}"/>
              </a:ext>
            </a:extLst>
          </p:cNvPr>
          <p:cNvSpPr/>
          <p:nvPr/>
        </p:nvSpPr>
        <p:spPr>
          <a:xfrm>
            <a:off x="3108753" y="5545390"/>
            <a:ext cx="1212322" cy="7331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Infrastructure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F9E409E-029C-4462-9C70-CECE87459EA4}"/>
              </a:ext>
            </a:extLst>
          </p:cNvPr>
          <p:cNvSpPr/>
          <p:nvPr/>
        </p:nvSpPr>
        <p:spPr>
          <a:xfrm rot="5400000">
            <a:off x="5050831" y="5540034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5DB48A4-FF6E-4D81-935D-98E5944361F7}"/>
              </a:ext>
            </a:extLst>
          </p:cNvPr>
          <p:cNvGrpSpPr/>
          <p:nvPr/>
        </p:nvGrpSpPr>
        <p:grpSpPr>
          <a:xfrm>
            <a:off x="287079" y="3173500"/>
            <a:ext cx="1913417" cy="1285531"/>
            <a:chOff x="220267" y="1812011"/>
            <a:chExt cx="1394605" cy="696064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80AA51E-AF0E-4C72-9015-8C01DF3E42FF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26">
                <a:defRPr/>
              </a:pPr>
              <a:endParaRPr lang="en-US" sz="1000" b="1" kern="0">
                <a:solidFill>
                  <a:prstClr val="white"/>
                </a:solidFill>
                <a:latin typeface="Arial" panose="020B0604020202020204" pitchFamily="34" charset="0"/>
                <a:ea typeface="Georgia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16CA458-2FFB-4452-83C6-5AFB5EBAB92F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45708" rIns="45708" rtlCol="0" anchor="ctr"/>
            <a:lstStyle/>
            <a:p>
              <a:pPr lvl="0" algn="ctr" defTabSz="457200">
                <a:defRPr/>
              </a:pPr>
              <a:r>
                <a:rPr lang="en-US" sz="1400" b="1">
                  <a:solidFill>
                    <a:schemeClr val="bg1"/>
                  </a:solidFill>
                </a:rPr>
                <a:t>Data Platform Services &amp;Technology </a:t>
              </a:r>
              <a:endParaRPr lang="en-US" sz="1200"/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34CBCB91-41A5-4745-8932-40EFCE055C71}"/>
              </a:ext>
            </a:extLst>
          </p:cNvPr>
          <p:cNvSpPr/>
          <p:nvPr/>
        </p:nvSpPr>
        <p:spPr>
          <a:xfrm rot="5400000">
            <a:off x="5050831" y="4073515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3102C7A-BE82-4A66-B623-66C01A1E6F85}"/>
              </a:ext>
            </a:extLst>
          </p:cNvPr>
          <p:cNvSpPr/>
          <p:nvPr/>
        </p:nvSpPr>
        <p:spPr>
          <a:xfrm rot="5400000">
            <a:off x="5503031" y="2890739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08D8854-353E-4992-9F1A-3FE8DD29AE95}"/>
              </a:ext>
            </a:extLst>
          </p:cNvPr>
          <p:cNvSpPr/>
          <p:nvPr/>
        </p:nvSpPr>
        <p:spPr>
          <a:xfrm rot="5400000">
            <a:off x="5503031" y="3499080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23B57DB-B7E5-44B8-8670-5A36144B31AC}"/>
              </a:ext>
            </a:extLst>
          </p:cNvPr>
          <p:cNvSpPr/>
          <p:nvPr/>
        </p:nvSpPr>
        <p:spPr>
          <a:xfrm rot="5400000">
            <a:off x="5510287" y="5022038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7E28964-ECB2-4D9D-BA81-F92425C212F3}"/>
              </a:ext>
            </a:extLst>
          </p:cNvPr>
          <p:cNvSpPr/>
          <p:nvPr/>
        </p:nvSpPr>
        <p:spPr>
          <a:xfrm rot="5400000">
            <a:off x="5503030" y="4383758"/>
            <a:ext cx="151141" cy="15054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740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Picture 156">
            <a:extLst>
              <a:ext uri="{FF2B5EF4-FFF2-40B4-BE49-F238E27FC236}">
                <a16:creationId xmlns:a16="http://schemas.microsoft.com/office/drawing/2014/main" id="{14411FB4-8F05-40B9-892A-121580CFCD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615" b="50174"/>
          <a:stretch/>
        </p:blipFill>
        <p:spPr>
          <a:xfrm>
            <a:off x="1027650" y="1238656"/>
            <a:ext cx="5249094" cy="49926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C2B7D9-F019-4DE2-A144-B6962153D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02587"/>
            <a:ext cx="5849502" cy="466401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Preliminary Data Platform Product Roadmap</a:t>
            </a:r>
            <a:endParaRPr lang="en-US"/>
          </a:p>
        </p:txBody>
      </p: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BD3D49DF-980E-4DA5-90CA-B0DC329A5B19}"/>
              </a:ext>
            </a:extLst>
          </p:cNvPr>
          <p:cNvCxnSpPr>
            <a:cxnSpLocks/>
          </p:cNvCxnSpPr>
          <p:nvPr/>
        </p:nvCxnSpPr>
        <p:spPr>
          <a:xfrm flipH="1">
            <a:off x="1017316" y="930043"/>
            <a:ext cx="31188" cy="5294324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2" name="TextBox 231">
            <a:extLst>
              <a:ext uri="{FF2B5EF4-FFF2-40B4-BE49-F238E27FC236}">
                <a16:creationId xmlns:a16="http://schemas.microsoft.com/office/drawing/2014/main" id="{3CA5DC67-9653-4154-9CD4-DA8DF9DACDFE}"/>
              </a:ext>
            </a:extLst>
          </p:cNvPr>
          <p:cNvSpPr txBox="1"/>
          <p:nvPr/>
        </p:nvSpPr>
        <p:spPr>
          <a:xfrm rot="16200000">
            <a:off x="-54901" y="3380725"/>
            <a:ext cx="721215" cy="3313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>
                <a:solidFill>
                  <a:prstClr val="white">
                    <a:lumMod val="65000"/>
                  </a:prstClr>
                </a:solidFill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Year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E3C60E92-3166-4E06-8001-FADA2CB45683}"/>
              </a:ext>
            </a:extLst>
          </p:cNvPr>
          <p:cNvSpPr txBox="1"/>
          <p:nvPr/>
        </p:nvSpPr>
        <p:spPr>
          <a:xfrm>
            <a:off x="305706" y="1801281"/>
            <a:ext cx="781188" cy="30588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>
                <a:solidFill>
                  <a:prstClr val="white">
                    <a:lumMod val="65000"/>
                  </a:prstClr>
                </a:solidFill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2022</a:t>
            </a:r>
          </a:p>
        </p:txBody>
      </p: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DC34376F-BCED-4902-8732-19F6F9D52F47}"/>
              </a:ext>
            </a:extLst>
          </p:cNvPr>
          <p:cNvCxnSpPr>
            <a:cxnSpLocks/>
          </p:cNvCxnSpPr>
          <p:nvPr/>
        </p:nvCxnSpPr>
        <p:spPr>
          <a:xfrm flipH="1">
            <a:off x="998918" y="6217447"/>
            <a:ext cx="6492225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9" name="TextBox 248">
            <a:extLst>
              <a:ext uri="{FF2B5EF4-FFF2-40B4-BE49-F238E27FC236}">
                <a16:creationId xmlns:a16="http://schemas.microsoft.com/office/drawing/2014/main" id="{56C78146-E1FA-43C5-A07A-EC818405528E}"/>
              </a:ext>
            </a:extLst>
          </p:cNvPr>
          <p:cNvSpPr txBox="1"/>
          <p:nvPr/>
        </p:nvSpPr>
        <p:spPr>
          <a:xfrm>
            <a:off x="2164990" y="6211567"/>
            <a:ext cx="3221649" cy="2691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>
                <a:solidFill>
                  <a:prstClr val="white">
                    <a:lumMod val="65000"/>
                  </a:prstClr>
                </a:solidFill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Features Grouped by Capability</a:t>
            </a:r>
          </a:p>
        </p:txBody>
      </p:sp>
      <p:sp>
        <p:nvSpPr>
          <p:cNvPr id="59" name="Rounded Rectangle 2">
            <a:extLst>
              <a:ext uri="{FF2B5EF4-FFF2-40B4-BE49-F238E27FC236}">
                <a16:creationId xmlns:a16="http://schemas.microsoft.com/office/drawing/2014/main" id="{ECD9685D-FA9A-4E60-B952-444E7C700DD1}"/>
              </a:ext>
            </a:extLst>
          </p:cNvPr>
          <p:cNvSpPr/>
          <p:nvPr/>
        </p:nvSpPr>
        <p:spPr>
          <a:xfrm>
            <a:off x="7789596" y="6314077"/>
            <a:ext cx="2343537" cy="390465"/>
          </a:xfrm>
          <a:prstGeom prst="roundRect">
            <a:avLst>
              <a:gd name="adj" fmla="val 1224"/>
            </a:avLst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8288" tIns="0" rIns="0" bIns="0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1A28C1-E7B8-42B7-ADDE-C99535D35AB4}"/>
              </a:ext>
            </a:extLst>
          </p:cNvPr>
          <p:cNvSpPr/>
          <p:nvPr/>
        </p:nvSpPr>
        <p:spPr bwMode="gray">
          <a:xfrm rot="16200000">
            <a:off x="7638048" y="6406264"/>
            <a:ext cx="286826" cy="206091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8C56800-F38D-4DBD-AE71-DCBBBEBF2E6F}"/>
              </a:ext>
            </a:extLst>
          </p:cNvPr>
          <p:cNvGrpSpPr/>
          <p:nvPr/>
        </p:nvGrpSpPr>
        <p:grpSpPr>
          <a:xfrm>
            <a:off x="8023750" y="6355421"/>
            <a:ext cx="1011069" cy="307777"/>
            <a:chOff x="9797290" y="204287"/>
            <a:chExt cx="1011069" cy="307777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4E5016DF-BB80-4597-82EB-7E94F835EA2F}"/>
                </a:ext>
              </a:extLst>
            </p:cNvPr>
            <p:cNvSpPr/>
            <p:nvPr/>
          </p:nvSpPr>
          <p:spPr bwMode="gray">
            <a:xfrm>
              <a:off x="9797290" y="272057"/>
              <a:ext cx="170531" cy="172236"/>
            </a:xfrm>
            <a:prstGeom prst="ellipse">
              <a:avLst/>
            </a:prstGeom>
            <a:solidFill>
              <a:srgbClr val="7030A0"/>
            </a:solidFill>
            <a:ln>
              <a:noFill/>
              <a:miter lim="800000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2851CC9-6086-4511-92EB-729B73584DF0}"/>
                </a:ext>
              </a:extLst>
            </p:cNvPr>
            <p:cNvSpPr txBox="1"/>
            <p:nvPr/>
          </p:nvSpPr>
          <p:spPr>
            <a:xfrm>
              <a:off x="10011678" y="204287"/>
              <a:ext cx="79668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w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eature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4715140-E3C0-4A37-AC5D-071A6D43A0EE}"/>
              </a:ext>
            </a:extLst>
          </p:cNvPr>
          <p:cNvGrpSpPr/>
          <p:nvPr/>
        </p:nvGrpSpPr>
        <p:grpSpPr>
          <a:xfrm>
            <a:off x="8945922" y="6355421"/>
            <a:ext cx="1004137" cy="307777"/>
            <a:chOff x="10719462" y="204287"/>
            <a:chExt cx="1004137" cy="30777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D76E555-45D9-4F34-9E5A-0248C1234D8D}"/>
                </a:ext>
              </a:extLst>
            </p:cNvPr>
            <p:cNvSpPr txBox="1"/>
            <p:nvPr/>
          </p:nvSpPr>
          <p:spPr>
            <a:xfrm>
              <a:off x="10926918" y="204287"/>
              <a:ext cx="79668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>
                  <a:solidFill>
                    <a:srgbClr val="3F3F3F"/>
                  </a:solidFill>
                  <a:latin typeface="Arial"/>
                </a:rPr>
                <a:t>Feature Enhancement</a:t>
              </a:r>
              <a:endPara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4317AAF-8CFE-4E56-A01F-2C820EC4BFC3}"/>
                </a:ext>
              </a:extLst>
            </p:cNvPr>
            <p:cNvSpPr/>
            <p:nvPr/>
          </p:nvSpPr>
          <p:spPr bwMode="gray">
            <a:xfrm>
              <a:off x="10719462" y="272057"/>
              <a:ext cx="170531" cy="172236"/>
            </a:xfrm>
            <a:prstGeom prst="ellipse">
              <a:avLst/>
            </a:prstGeom>
            <a:solidFill>
              <a:srgbClr val="FF0000"/>
            </a:solidFill>
            <a:ln>
              <a:noFill/>
              <a:miter lim="800000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DAB87FF8-80B4-48CD-A041-7A9485FCD2B8}"/>
              </a:ext>
            </a:extLst>
          </p:cNvPr>
          <p:cNvSpPr txBox="1"/>
          <p:nvPr/>
        </p:nvSpPr>
        <p:spPr>
          <a:xfrm>
            <a:off x="344521" y="3230338"/>
            <a:ext cx="781188" cy="30588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>
                <a:solidFill>
                  <a:prstClr val="white">
                    <a:lumMod val="65000"/>
                  </a:prstClr>
                </a:solidFill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2021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5F1497-2721-4BA0-BEAD-176C97B7DA99}"/>
              </a:ext>
            </a:extLst>
          </p:cNvPr>
          <p:cNvSpPr txBox="1"/>
          <p:nvPr/>
        </p:nvSpPr>
        <p:spPr>
          <a:xfrm>
            <a:off x="344521" y="4969491"/>
            <a:ext cx="781188" cy="30588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b="1">
                <a:solidFill>
                  <a:prstClr val="white">
                    <a:lumMod val="65000"/>
                  </a:prstClr>
                </a:solidFill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2020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176831B-0D78-4EE1-B350-6719BB341206}"/>
              </a:ext>
            </a:extLst>
          </p:cNvPr>
          <p:cNvCxnSpPr>
            <a:cxnSpLocks/>
          </p:cNvCxnSpPr>
          <p:nvPr/>
        </p:nvCxnSpPr>
        <p:spPr>
          <a:xfrm flipH="1">
            <a:off x="1017316" y="1648769"/>
            <a:ext cx="2825219" cy="454477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5CF529B-35D5-4627-AAFF-7B9F32DE140C}"/>
              </a:ext>
            </a:extLst>
          </p:cNvPr>
          <p:cNvCxnSpPr>
            <a:cxnSpLocks/>
          </p:cNvCxnSpPr>
          <p:nvPr/>
        </p:nvCxnSpPr>
        <p:spPr>
          <a:xfrm flipH="1">
            <a:off x="1017320" y="3724416"/>
            <a:ext cx="4982788" cy="24691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9" name="Oval 108">
            <a:extLst>
              <a:ext uri="{FF2B5EF4-FFF2-40B4-BE49-F238E27FC236}">
                <a16:creationId xmlns:a16="http://schemas.microsoft.com/office/drawing/2014/main" id="{348EFA0D-0763-486D-A221-AEB196FE30F4}"/>
              </a:ext>
            </a:extLst>
          </p:cNvPr>
          <p:cNvSpPr/>
          <p:nvPr/>
        </p:nvSpPr>
        <p:spPr bwMode="gray">
          <a:xfrm>
            <a:off x="2452281" y="5661418"/>
            <a:ext cx="228600" cy="228600"/>
          </a:xfrm>
          <a:prstGeom prst="ellipse">
            <a:avLst/>
          </a:prstGeom>
          <a:solidFill>
            <a:srgbClr val="783BA6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schemeClr val="bg1"/>
                </a:solidFill>
                <a:latin typeface="Arial"/>
              </a:rPr>
              <a:t>AB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0F1B9F60-CDB6-4A51-B42D-26EE6948F552}"/>
              </a:ext>
            </a:extLst>
          </p:cNvPr>
          <p:cNvSpPr/>
          <p:nvPr/>
        </p:nvSpPr>
        <p:spPr bwMode="gray">
          <a:xfrm>
            <a:off x="2705983" y="5660011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FDE68385-2251-48ED-A7ED-DF58602687FB}"/>
              </a:ext>
            </a:extLst>
          </p:cNvPr>
          <p:cNvSpPr/>
          <p:nvPr/>
        </p:nvSpPr>
        <p:spPr bwMode="gray">
          <a:xfrm>
            <a:off x="1855547" y="4991137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F5AE7383-742F-471B-83FA-7E5E3CD6CB3A}"/>
              </a:ext>
            </a:extLst>
          </p:cNvPr>
          <p:cNvSpPr/>
          <p:nvPr/>
        </p:nvSpPr>
        <p:spPr bwMode="gray">
          <a:xfrm>
            <a:off x="3447326" y="5316917"/>
            <a:ext cx="228600" cy="228600"/>
          </a:xfrm>
          <a:prstGeom prst="ellipse">
            <a:avLst/>
          </a:prstGeom>
          <a:solidFill>
            <a:srgbClr val="E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73D6BBAB-7B2A-4599-AF7F-4119E5DA04C4}"/>
              </a:ext>
            </a:extLst>
          </p:cNvPr>
          <p:cNvSpPr/>
          <p:nvPr/>
        </p:nvSpPr>
        <p:spPr bwMode="gray">
          <a:xfrm>
            <a:off x="3933928" y="5316917"/>
            <a:ext cx="228600" cy="228600"/>
          </a:xfrm>
          <a:prstGeom prst="ellipse">
            <a:avLst/>
          </a:prstGeom>
          <a:solidFill>
            <a:srgbClr val="E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AD525E3D-4D09-458A-B9C9-859D8A889A8D}"/>
              </a:ext>
            </a:extLst>
          </p:cNvPr>
          <p:cNvSpPr/>
          <p:nvPr/>
        </p:nvSpPr>
        <p:spPr bwMode="gray">
          <a:xfrm>
            <a:off x="2207018" y="5673474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Arial"/>
              </a:rPr>
              <a:t>AA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588E31D-EB81-4210-A8AD-3228335AC2C4}"/>
              </a:ext>
            </a:extLst>
          </p:cNvPr>
          <p:cNvSpPr/>
          <p:nvPr/>
        </p:nvSpPr>
        <p:spPr bwMode="gray">
          <a:xfrm>
            <a:off x="3447326" y="5565701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DFB88565-A70F-4846-8FFD-CA1DAE10F350}"/>
              </a:ext>
            </a:extLst>
          </p:cNvPr>
          <p:cNvSpPr/>
          <p:nvPr/>
        </p:nvSpPr>
        <p:spPr bwMode="gray">
          <a:xfrm>
            <a:off x="2527671" y="4649528"/>
            <a:ext cx="228600" cy="228600"/>
          </a:xfrm>
          <a:prstGeom prst="ellipse">
            <a:avLst/>
          </a:prstGeom>
          <a:solidFill>
            <a:srgbClr val="FF0101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2A636EAB-4A06-4384-86D8-4AF424A2D241}"/>
              </a:ext>
            </a:extLst>
          </p:cNvPr>
          <p:cNvSpPr/>
          <p:nvPr/>
        </p:nvSpPr>
        <p:spPr bwMode="gray">
          <a:xfrm>
            <a:off x="3324322" y="4184475"/>
            <a:ext cx="228600" cy="228600"/>
          </a:xfrm>
          <a:prstGeom prst="ellipse">
            <a:avLst/>
          </a:prstGeom>
          <a:solidFill>
            <a:srgbClr val="FF0101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41F22CC3-47E0-4349-85EA-8FC8EFFFF60E}"/>
              </a:ext>
            </a:extLst>
          </p:cNvPr>
          <p:cNvSpPr/>
          <p:nvPr/>
        </p:nvSpPr>
        <p:spPr bwMode="gray">
          <a:xfrm>
            <a:off x="3690627" y="5316917"/>
            <a:ext cx="228600" cy="228600"/>
          </a:xfrm>
          <a:prstGeom prst="ellipse">
            <a:avLst/>
          </a:prstGeom>
          <a:solidFill>
            <a:srgbClr val="FF0101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7481326A-04B3-4A39-9156-7DAA76EBC13D}"/>
              </a:ext>
            </a:extLst>
          </p:cNvPr>
          <p:cNvSpPr/>
          <p:nvPr/>
        </p:nvSpPr>
        <p:spPr bwMode="gray">
          <a:xfrm>
            <a:off x="1348186" y="4214644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ACC5C15-F27E-43D3-92B6-3DC5812AFB75}"/>
              </a:ext>
            </a:extLst>
          </p:cNvPr>
          <p:cNvSpPr/>
          <p:nvPr/>
        </p:nvSpPr>
        <p:spPr bwMode="gray">
          <a:xfrm>
            <a:off x="1105849" y="4214644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C1653ED0-80A6-4FCE-8902-58C2581CF959}"/>
              </a:ext>
            </a:extLst>
          </p:cNvPr>
          <p:cNvSpPr/>
          <p:nvPr/>
        </p:nvSpPr>
        <p:spPr bwMode="gray">
          <a:xfrm>
            <a:off x="2227362" y="5249048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</a:t>
            </a: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2DEB00A9-0E00-4B32-84B2-33FCB2FFB7AC}"/>
              </a:ext>
            </a:extLst>
          </p:cNvPr>
          <p:cNvSpPr/>
          <p:nvPr/>
        </p:nvSpPr>
        <p:spPr bwMode="gray">
          <a:xfrm>
            <a:off x="3045325" y="5660718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</a:t>
            </a: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7BA023F2-2118-4699-8914-A05D428CCDB0}"/>
              </a:ext>
            </a:extLst>
          </p:cNvPr>
          <p:cNvSpPr/>
          <p:nvPr/>
        </p:nvSpPr>
        <p:spPr bwMode="gray">
          <a:xfrm>
            <a:off x="1701984" y="3354899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</a:t>
            </a: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AFA75756-0BC0-4620-AE09-18B6A41C9E4D}"/>
              </a:ext>
            </a:extLst>
          </p:cNvPr>
          <p:cNvSpPr/>
          <p:nvPr/>
        </p:nvSpPr>
        <p:spPr bwMode="gray">
          <a:xfrm>
            <a:off x="1846304" y="3094366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Arial"/>
              </a:rPr>
              <a:t>D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EF76787A-F088-44A8-8682-4F083E5D4C84}"/>
              </a:ext>
            </a:extLst>
          </p:cNvPr>
          <p:cNvSpPr/>
          <p:nvPr/>
        </p:nvSpPr>
        <p:spPr bwMode="gray">
          <a:xfrm>
            <a:off x="2120065" y="3094366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B7F0DF32-6134-4112-83F5-639B139C23BE}"/>
              </a:ext>
            </a:extLst>
          </p:cNvPr>
          <p:cNvSpPr/>
          <p:nvPr/>
        </p:nvSpPr>
        <p:spPr bwMode="gray">
          <a:xfrm>
            <a:off x="1600553" y="4214644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Arial"/>
              </a:rPr>
              <a:t>F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85B9A0F9-E58A-4086-A2EE-7D512B2E6ECE}"/>
              </a:ext>
            </a:extLst>
          </p:cNvPr>
          <p:cNvSpPr/>
          <p:nvPr/>
        </p:nvSpPr>
        <p:spPr bwMode="gray">
          <a:xfrm>
            <a:off x="1345863" y="3094366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9A9D96F3-0DA7-4C30-B90C-D647CF541488}"/>
              </a:ext>
            </a:extLst>
          </p:cNvPr>
          <p:cNvSpPr/>
          <p:nvPr/>
        </p:nvSpPr>
        <p:spPr bwMode="gray">
          <a:xfrm>
            <a:off x="1443461" y="3354899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39233070-C29D-4836-AD0C-9EF55DD4428C}"/>
              </a:ext>
            </a:extLst>
          </p:cNvPr>
          <p:cNvSpPr/>
          <p:nvPr/>
        </p:nvSpPr>
        <p:spPr bwMode="gray">
          <a:xfrm>
            <a:off x="1595564" y="3094366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C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DC46BC5A-5E3A-4BD8-8543-B0AA8E72E445}"/>
              </a:ext>
            </a:extLst>
          </p:cNvPr>
          <p:cNvSpPr/>
          <p:nvPr/>
        </p:nvSpPr>
        <p:spPr bwMode="gray">
          <a:xfrm>
            <a:off x="2337981" y="5921845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E</a:t>
            </a: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F33191D7-48E6-43E0-929C-5ECD6E71A95F}"/>
              </a:ext>
            </a:extLst>
          </p:cNvPr>
          <p:cNvSpPr/>
          <p:nvPr/>
        </p:nvSpPr>
        <p:spPr bwMode="gray">
          <a:xfrm>
            <a:off x="3692483" y="5565701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F</a:t>
            </a: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7FB17919-5AD3-43A8-B0AD-9891777F9C0D}"/>
              </a:ext>
            </a:extLst>
          </p:cNvPr>
          <p:cNvSpPr/>
          <p:nvPr/>
        </p:nvSpPr>
        <p:spPr bwMode="gray">
          <a:xfrm>
            <a:off x="1980708" y="5255298"/>
            <a:ext cx="228600" cy="228600"/>
          </a:xfrm>
          <a:prstGeom prst="ellipse">
            <a:avLst/>
          </a:prstGeom>
          <a:solidFill>
            <a:srgbClr val="783BA6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Arial"/>
              </a:rPr>
              <a:t>T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2091C4F4-D7AF-4C64-B9E6-543ED71A1684}"/>
              </a:ext>
            </a:extLst>
          </p:cNvPr>
          <p:cNvSpPr/>
          <p:nvPr/>
        </p:nvSpPr>
        <p:spPr bwMode="gray">
          <a:xfrm>
            <a:off x="4177229" y="5315766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rPr>
              <a:t>AB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F25914AF-EC7D-4A34-AE94-9B9D4A254082}"/>
              </a:ext>
            </a:extLst>
          </p:cNvPr>
          <p:cNvSpPr/>
          <p:nvPr/>
        </p:nvSpPr>
        <p:spPr bwMode="gray">
          <a:xfrm>
            <a:off x="2103980" y="4977740"/>
            <a:ext cx="228600" cy="228600"/>
          </a:xfrm>
          <a:prstGeom prst="ellipse">
            <a:avLst/>
          </a:prstGeom>
          <a:solidFill>
            <a:srgbClr val="7937AA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77D0D278-1957-4FC0-882A-42F28BB672DD}"/>
              </a:ext>
            </a:extLst>
          </p:cNvPr>
          <p:cNvSpPr/>
          <p:nvPr/>
        </p:nvSpPr>
        <p:spPr bwMode="gray">
          <a:xfrm>
            <a:off x="3044721" y="4192279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7FDFDD90-8FB2-4610-A7C4-4377DB0172FF}"/>
              </a:ext>
            </a:extLst>
          </p:cNvPr>
          <p:cNvSpPr/>
          <p:nvPr/>
        </p:nvSpPr>
        <p:spPr bwMode="gray">
          <a:xfrm>
            <a:off x="4210748" y="3429000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64F03553-5AB1-42D7-8496-64AB69D2343D}"/>
              </a:ext>
            </a:extLst>
          </p:cNvPr>
          <p:cNvSpPr/>
          <p:nvPr/>
        </p:nvSpPr>
        <p:spPr bwMode="gray">
          <a:xfrm>
            <a:off x="1952216" y="3354899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P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CB4104D6-F303-4878-B261-63C1F92BEC8F}"/>
              </a:ext>
            </a:extLst>
          </p:cNvPr>
          <p:cNvSpPr/>
          <p:nvPr/>
        </p:nvSpPr>
        <p:spPr bwMode="gray">
          <a:xfrm>
            <a:off x="3937481" y="5565701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</a:t>
            </a: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8F10EF97-2F77-4EA4-8EB4-EB176FE57CD9}"/>
              </a:ext>
            </a:extLst>
          </p:cNvPr>
          <p:cNvSpPr/>
          <p:nvPr/>
        </p:nvSpPr>
        <p:spPr bwMode="gray">
          <a:xfrm>
            <a:off x="1105849" y="447621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CDEC660A-BE43-4FEC-9524-F73F5CE5D8A5}"/>
              </a:ext>
            </a:extLst>
          </p:cNvPr>
          <p:cNvSpPr/>
          <p:nvPr/>
        </p:nvSpPr>
        <p:spPr bwMode="gray">
          <a:xfrm>
            <a:off x="7754616" y="2957338"/>
            <a:ext cx="4023702" cy="915889"/>
          </a:xfrm>
          <a:prstGeom prst="rect">
            <a:avLst/>
          </a:prstGeom>
          <a:noFill/>
          <a:ln>
            <a:solidFill>
              <a:schemeClr val="accent2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F5DA0670-AFF6-4FC6-9759-B71510536524}"/>
              </a:ext>
            </a:extLst>
          </p:cNvPr>
          <p:cNvSpPr/>
          <p:nvPr/>
        </p:nvSpPr>
        <p:spPr bwMode="gray">
          <a:xfrm>
            <a:off x="7919797" y="3610720"/>
            <a:ext cx="228600" cy="228600"/>
          </a:xfrm>
          <a:prstGeom prst="ellipse">
            <a:avLst/>
          </a:prstGeom>
          <a:solidFill>
            <a:srgbClr val="7937AA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575F0938-99F7-4F99-A44F-78537A227A68}"/>
              </a:ext>
            </a:extLst>
          </p:cNvPr>
          <p:cNvSpPr/>
          <p:nvPr/>
        </p:nvSpPr>
        <p:spPr bwMode="gray">
          <a:xfrm>
            <a:off x="7919797" y="3347204"/>
            <a:ext cx="228600" cy="228600"/>
          </a:xfrm>
          <a:prstGeom prst="ellipse">
            <a:avLst/>
          </a:prstGeom>
          <a:solidFill>
            <a:srgbClr val="FF0101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6C1BFE68-A5D5-4F93-A47B-4459D2B2E2B8}"/>
              </a:ext>
            </a:extLst>
          </p:cNvPr>
          <p:cNvSpPr txBox="1"/>
          <p:nvPr/>
        </p:nvSpPr>
        <p:spPr>
          <a:xfrm>
            <a:off x="8778226" y="2898721"/>
            <a:ext cx="2103120" cy="1556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a Governance and Ownership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F565311-8C9E-41D3-84DF-A3AF2450E687}"/>
              </a:ext>
            </a:extLst>
          </p:cNvPr>
          <p:cNvSpPr/>
          <p:nvPr/>
        </p:nvSpPr>
        <p:spPr bwMode="gray">
          <a:xfrm>
            <a:off x="9800836" y="3347204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46E36EB4-9F93-4EDA-A1F8-7021BACECDF8}"/>
              </a:ext>
            </a:extLst>
          </p:cNvPr>
          <p:cNvSpPr txBox="1"/>
          <p:nvPr/>
        </p:nvSpPr>
        <p:spPr>
          <a:xfrm>
            <a:off x="8183650" y="312104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Stewardship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3834098F-E269-4014-BEF1-B91A3AA9EF8C}"/>
              </a:ext>
            </a:extLst>
          </p:cNvPr>
          <p:cNvSpPr txBox="1"/>
          <p:nvPr/>
        </p:nvSpPr>
        <p:spPr>
          <a:xfrm>
            <a:off x="8183650" y="337466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Fluency and Training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25179770-A7A3-45C1-A698-73AAACAE94E2}"/>
              </a:ext>
            </a:extLst>
          </p:cNvPr>
          <p:cNvSpPr txBox="1"/>
          <p:nvPr/>
        </p:nvSpPr>
        <p:spPr>
          <a:xfrm>
            <a:off x="8183650" y="364807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Enterprise Data Inventory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A73F3287-A8B6-4012-ADCA-9099B34CE627}"/>
              </a:ext>
            </a:extLst>
          </p:cNvPr>
          <p:cNvSpPr txBox="1"/>
          <p:nvPr/>
        </p:nvSpPr>
        <p:spPr>
          <a:xfrm>
            <a:off x="10091804" y="593425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Metadata Tooling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4D88AC4F-3D1D-492F-962E-EDF9BA423547}"/>
              </a:ext>
            </a:extLst>
          </p:cNvPr>
          <p:cNvSpPr txBox="1"/>
          <p:nvPr/>
        </p:nvSpPr>
        <p:spPr>
          <a:xfrm>
            <a:off x="10076576" y="338234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Policies, rules and oversight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5ACDF724-8C44-4FB1-90FC-72141EB3096C}"/>
              </a:ext>
            </a:extLst>
          </p:cNvPr>
          <p:cNvSpPr/>
          <p:nvPr/>
        </p:nvSpPr>
        <p:spPr bwMode="gray">
          <a:xfrm>
            <a:off x="7767030" y="4068293"/>
            <a:ext cx="4023702" cy="2163142"/>
          </a:xfrm>
          <a:prstGeom prst="rect">
            <a:avLst/>
          </a:prstGeom>
          <a:noFill/>
          <a:ln>
            <a:solidFill>
              <a:schemeClr val="accent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6684869-BFA7-4EEA-A317-A8062D2F06E3}"/>
              </a:ext>
            </a:extLst>
          </p:cNvPr>
          <p:cNvSpPr txBox="1"/>
          <p:nvPr/>
        </p:nvSpPr>
        <p:spPr>
          <a:xfrm>
            <a:off x="8398024" y="3991199"/>
            <a:ext cx="3017520" cy="1556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a Management, Delivery, and Infrastructure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7785FA93-9E59-45C0-8489-49C6E65CB96D}"/>
              </a:ext>
            </a:extLst>
          </p:cNvPr>
          <p:cNvSpPr/>
          <p:nvPr/>
        </p:nvSpPr>
        <p:spPr bwMode="gray">
          <a:xfrm>
            <a:off x="9803087" y="4192279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AC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40E5504C-DB41-4091-A83E-0346C56005EE}"/>
              </a:ext>
            </a:extLst>
          </p:cNvPr>
          <p:cNvSpPr/>
          <p:nvPr/>
        </p:nvSpPr>
        <p:spPr bwMode="gray">
          <a:xfrm>
            <a:off x="7922048" y="4192279"/>
            <a:ext cx="228600" cy="228600"/>
          </a:xfrm>
          <a:prstGeom prst="ellipse">
            <a:avLst/>
          </a:prstGeom>
          <a:solidFill>
            <a:srgbClr val="E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V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25851F47-4E76-45F3-B829-847135201398}"/>
              </a:ext>
            </a:extLst>
          </p:cNvPr>
          <p:cNvSpPr/>
          <p:nvPr/>
        </p:nvSpPr>
        <p:spPr bwMode="gray">
          <a:xfrm>
            <a:off x="9803087" y="4484330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AD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C9B395A0-E84C-4CB6-B362-41F418602065}"/>
              </a:ext>
            </a:extLst>
          </p:cNvPr>
          <p:cNvSpPr/>
          <p:nvPr/>
        </p:nvSpPr>
        <p:spPr bwMode="gray">
          <a:xfrm>
            <a:off x="7922048" y="4748877"/>
            <a:ext cx="228600" cy="228600"/>
          </a:xfrm>
          <a:prstGeom prst="ellipse">
            <a:avLst/>
          </a:prstGeom>
          <a:solidFill>
            <a:srgbClr val="FF0101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X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E58884F3-4D17-413D-961E-58BF1124FD62}"/>
              </a:ext>
            </a:extLst>
          </p:cNvPr>
          <p:cNvSpPr/>
          <p:nvPr/>
        </p:nvSpPr>
        <p:spPr bwMode="gray">
          <a:xfrm>
            <a:off x="7922048" y="4484330"/>
            <a:ext cx="228600" cy="228600"/>
          </a:xfrm>
          <a:prstGeom prst="ellipse">
            <a:avLst/>
          </a:prstGeom>
          <a:solidFill>
            <a:srgbClr val="E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W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1C0DB8F0-0E34-4E53-9A28-203CFF152163}"/>
              </a:ext>
            </a:extLst>
          </p:cNvPr>
          <p:cNvSpPr/>
          <p:nvPr/>
        </p:nvSpPr>
        <p:spPr bwMode="gray">
          <a:xfrm>
            <a:off x="7922048" y="5027176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B77C200F-A5EF-4340-B1F5-5062A48D4F4D}"/>
              </a:ext>
            </a:extLst>
          </p:cNvPr>
          <p:cNvSpPr/>
          <p:nvPr/>
        </p:nvSpPr>
        <p:spPr bwMode="gray">
          <a:xfrm>
            <a:off x="9803087" y="474887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AE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636EB39B-D4B4-4330-AC49-DDC4B068C256}"/>
              </a:ext>
            </a:extLst>
          </p:cNvPr>
          <p:cNvSpPr/>
          <p:nvPr/>
        </p:nvSpPr>
        <p:spPr bwMode="gray">
          <a:xfrm>
            <a:off x="9803087" y="5027176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F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2B2E6BF7-1833-42DA-AC83-09D88E4D1548}"/>
              </a:ext>
            </a:extLst>
          </p:cNvPr>
          <p:cNvSpPr/>
          <p:nvPr/>
        </p:nvSpPr>
        <p:spPr bwMode="gray">
          <a:xfrm>
            <a:off x="9803087" y="5305475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AD05D398-F71B-4D9D-96F1-13FDAACAAF8F}"/>
              </a:ext>
            </a:extLst>
          </p:cNvPr>
          <p:cNvSpPr/>
          <p:nvPr/>
        </p:nvSpPr>
        <p:spPr bwMode="gray">
          <a:xfrm>
            <a:off x="7922048" y="5305475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schemeClr val="bg1"/>
                </a:solidFill>
                <a:latin typeface="Arial"/>
              </a:rPr>
              <a:t>Z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9E2BE222-A26A-4E30-A483-DCF671BCED98}"/>
              </a:ext>
            </a:extLst>
          </p:cNvPr>
          <p:cNvSpPr/>
          <p:nvPr/>
        </p:nvSpPr>
        <p:spPr bwMode="gray">
          <a:xfrm>
            <a:off x="9803087" y="5583774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H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2A958183-B2D9-4B28-8B5C-672C66974F09}"/>
              </a:ext>
            </a:extLst>
          </p:cNvPr>
          <p:cNvSpPr txBox="1"/>
          <p:nvPr/>
        </p:nvSpPr>
        <p:spPr>
          <a:xfrm>
            <a:off x="8185901" y="4229635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Consumption Zones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350AAEEB-2EBD-482A-8940-07F7B319FD3A}"/>
              </a:ext>
            </a:extLst>
          </p:cNvPr>
          <p:cNvSpPr txBox="1"/>
          <p:nvPr/>
        </p:nvSpPr>
        <p:spPr>
          <a:xfrm>
            <a:off x="8185901" y="4786233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Ingestion Framework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7A091B46-C957-4E63-A64F-E786DCD20904}"/>
              </a:ext>
            </a:extLst>
          </p:cNvPr>
          <p:cNvSpPr txBox="1"/>
          <p:nvPr/>
        </p:nvSpPr>
        <p:spPr>
          <a:xfrm>
            <a:off x="8185901" y="5064532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Quality Framework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C5FDEF13-DA13-4BD2-9C0E-D401B0720314}"/>
              </a:ext>
            </a:extLst>
          </p:cNvPr>
          <p:cNvSpPr txBox="1"/>
          <p:nvPr/>
        </p:nvSpPr>
        <p:spPr>
          <a:xfrm>
            <a:off x="8185901" y="4444742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Analytics provisioning Tools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8E4DE865-62DE-4DBB-94EA-758CDF84C931}"/>
              </a:ext>
            </a:extLst>
          </p:cNvPr>
          <p:cNvSpPr txBox="1"/>
          <p:nvPr/>
        </p:nvSpPr>
        <p:spPr>
          <a:xfrm>
            <a:off x="8185901" y="5342831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Self Service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318BF666-5E85-48C9-94E0-BD8D8DBD2961}"/>
              </a:ext>
            </a:extLst>
          </p:cNvPr>
          <p:cNvSpPr txBox="1"/>
          <p:nvPr/>
        </p:nvSpPr>
        <p:spPr>
          <a:xfrm>
            <a:off x="8185901" y="5621130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Persistent Memory Service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60FEFD82-6C5F-420A-AA87-AB129755A6A0}"/>
              </a:ext>
            </a:extLst>
          </p:cNvPr>
          <p:cNvSpPr txBox="1"/>
          <p:nvPr/>
        </p:nvSpPr>
        <p:spPr>
          <a:xfrm>
            <a:off x="8185901" y="5826326"/>
            <a:ext cx="15771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Enable Hybrid Cloud Strategy for Data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BD5690A2-335C-4602-A160-89843D1C9FEB}"/>
              </a:ext>
            </a:extLst>
          </p:cNvPr>
          <p:cNvSpPr txBox="1"/>
          <p:nvPr/>
        </p:nvSpPr>
        <p:spPr>
          <a:xfrm>
            <a:off x="10078827" y="4229635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Real Time Analytics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4CE073D9-9CFE-43BE-A3A6-031874E1FC26}"/>
              </a:ext>
            </a:extLst>
          </p:cNvPr>
          <p:cNvSpPr txBox="1"/>
          <p:nvPr/>
        </p:nvSpPr>
        <p:spPr>
          <a:xfrm>
            <a:off x="10078827" y="452168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err="1">
                <a:solidFill>
                  <a:schemeClr val="tx2"/>
                </a:solidFill>
              </a:rPr>
              <a:t>HiTrust</a:t>
            </a:r>
            <a:r>
              <a:rPr lang="en-US" sz="1000">
                <a:solidFill>
                  <a:schemeClr val="tx2"/>
                </a:solidFill>
              </a:rPr>
              <a:t> Environment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B281234D-4610-4F01-B5D3-8BF66F2A02D9}"/>
              </a:ext>
            </a:extLst>
          </p:cNvPr>
          <p:cNvSpPr txBox="1"/>
          <p:nvPr/>
        </p:nvSpPr>
        <p:spPr>
          <a:xfrm>
            <a:off x="10078827" y="4786233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Data Egress Framework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15C499C6-2FE5-4998-B74D-5E56AAF8D4C8}"/>
              </a:ext>
            </a:extLst>
          </p:cNvPr>
          <p:cNvSpPr txBox="1"/>
          <p:nvPr/>
        </p:nvSpPr>
        <p:spPr>
          <a:xfrm>
            <a:off x="10078827" y="5064532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Templated Provisioning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3965D26-AC1E-4BEC-9148-218CD716DDB5}"/>
              </a:ext>
            </a:extLst>
          </p:cNvPr>
          <p:cNvSpPr txBox="1"/>
          <p:nvPr/>
        </p:nvSpPr>
        <p:spPr>
          <a:xfrm>
            <a:off x="10078827" y="5342831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Hadoop Migration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4F8C44A-D904-4AA2-AE34-D3C24A69E74A}"/>
              </a:ext>
            </a:extLst>
          </p:cNvPr>
          <p:cNvSpPr txBox="1"/>
          <p:nvPr/>
        </p:nvSpPr>
        <p:spPr>
          <a:xfrm>
            <a:off x="10078827" y="5621130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Sunset CVS Data Lake </a:t>
            </a: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5CA64C43-A981-4D70-A7BF-A7DBB3CAE635}"/>
              </a:ext>
            </a:extLst>
          </p:cNvPr>
          <p:cNvSpPr/>
          <p:nvPr/>
        </p:nvSpPr>
        <p:spPr bwMode="gray">
          <a:xfrm>
            <a:off x="1348186" y="447621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29B2E0DA-A768-4D3E-9248-7F52E96A1179}"/>
              </a:ext>
            </a:extLst>
          </p:cNvPr>
          <p:cNvSpPr/>
          <p:nvPr/>
        </p:nvSpPr>
        <p:spPr bwMode="gray">
          <a:xfrm>
            <a:off x="1600553" y="4476217"/>
            <a:ext cx="228600" cy="228600"/>
          </a:xfrm>
          <a:prstGeom prst="ellipse">
            <a:avLst/>
          </a:prstGeom>
          <a:solidFill>
            <a:srgbClr val="783BA6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schemeClr val="bg1"/>
                </a:solidFill>
                <a:latin typeface="Arial"/>
              </a:rPr>
              <a:t>J</a:t>
            </a:r>
            <a:endParaRPr kumimoji="0" lang="en-US" sz="700" b="1" i="0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58D16E66-BFAA-42D5-AAEC-0564C82F89C8}"/>
              </a:ext>
            </a:extLst>
          </p:cNvPr>
          <p:cNvSpPr/>
          <p:nvPr/>
        </p:nvSpPr>
        <p:spPr bwMode="gray">
          <a:xfrm>
            <a:off x="1225680" y="4731203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85A315C0-0C6C-4CDA-83B9-5542CE9CBDBD}"/>
              </a:ext>
            </a:extLst>
          </p:cNvPr>
          <p:cNvSpPr/>
          <p:nvPr/>
        </p:nvSpPr>
        <p:spPr bwMode="gray">
          <a:xfrm>
            <a:off x="1465341" y="4731203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0068719D-B012-4545-B2FD-5B52CF904610}"/>
              </a:ext>
            </a:extLst>
          </p:cNvPr>
          <p:cNvSpPr/>
          <p:nvPr/>
        </p:nvSpPr>
        <p:spPr bwMode="gray">
          <a:xfrm>
            <a:off x="7748973" y="576886"/>
            <a:ext cx="4023702" cy="2203862"/>
          </a:xfrm>
          <a:prstGeom prst="rect">
            <a:avLst/>
          </a:prstGeom>
          <a:noFill/>
          <a:ln>
            <a:solidFill>
              <a:schemeClr val="accent3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6683801-1A38-46E8-BCFC-4748DD3D0C8A}"/>
              </a:ext>
            </a:extLst>
          </p:cNvPr>
          <p:cNvSpPr txBox="1"/>
          <p:nvPr/>
        </p:nvSpPr>
        <p:spPr>
          <a:xfrm>
            <a:off x="9266557" y="515406"/>
            <a:ext cx="1097280" cy="1556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a Availability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AA7D7EA-5DF9-4B1D-8861-D7557CE6F28F}"/>
              </a:ext>
            </a:extLst>
          </p:cNvPr>
          <p:cNvSpPr/>
          <p:nvPr/>
        </p:nvSpPr>
        <p:spPr bwMode="gray">
          <a:xfrm>
            <a:off x="7919797" y="1479511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D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B7F72FE4-7C7F-4E4D-8356-7403DC5E0234}"/>
              </a:ext>
            </a:extLst>
          </p:cNvPr>
          <p:cNvSpPr/>
          <p:nvPr/>
        </p:nvSpPr>
        <p:spPr bwMode="gray">
          <a:xfrm>
            <a:off x="7919797" y="1732712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E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162F154D-45C8-46B7-BE5F-4CE4C6C3FCFE}"/>
              </a:ext>
            </a:extLst>
          </p:cNvPr>
          <p:cNvSpPr/>
          <p:nvPr/>
        </p:nvSpPr>
        <p:spPr bwMode="gray">
          <a:xfrm>
            <a:off x="7919797" y="2239114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G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991D7B09-C28F-405F-969E-03F9CCBFC9AA}"/>
              </a:ext>
            </a:extLst>
          </p:cNvPr>
          <p:cNvSpPr/>
          <p:nvPr/>
        </p:nvSpPr>
        <p:spPr bwMode="gray">
          <a:xfrm>
            <a:off x="7919797" y="719908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2E24ACAB-39C3-440E-AE22-5A17FBBE67C7}"/>
              </a:ext>
            </a:extLst>
          </p:cNvPr>
          <p:cNvSpPr/>
          <p:nvPr/>
        </p:nvSpPr>
        <p:spPr bwMode="gray">
          <a:xfrm>
            <a:off x="7919797" y="973109"/>
            <a:ext cx="228600" cy="228600"/>
          </a:xfrm>
          <a:prstGeom prst="ellipse">
            <a:avLst/>
          </a:prstGeom>
          <a:solidFill>
            <a:srgbClr val="FF000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4209FEE-FCF8-49A5-88BE-EF49BF9B0AC3}"/>
              </a:ext>
            </a:extLst>
          </p:cNvPr>
          <p:cNvSpPr/>
          <p:nvPr/>
        </p:nvSpPr>
        <p:spPr bwMode="gray">
          <a:xfrm>
            <a:off x="7923806" y="1226310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+mj-lt"/>
              </a:rPr>
              <a:t>C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B435EE6C-6C0F-4104-8647-CA31A2D93985}"/>
              </a:ext>
            </a:extLst>
          </p:cNvPr>
          <p:cNvSpPr/>
          <p:nvPr/>
        </p:nvSpPr>
        <p:spPr bwMode="gray">
          <a:xfrm>
            <a:off x="7919797" y="249231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B55F0349-08C2-440E-9EAD-76786F81188F}"/>
              </a:ext>
            </a:extLst>
          </p:cNvPr>
          <p:cNvSpPr/>
          <p:nvPr/>
        </p:nvSpPr>
        <p:spPr bwMode="gray">
          <a:xfrm>
            <a:off x="9801012" y="2509952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2483BC-0C71-45FF-880A-36E726C0DA8D}"/>
              </a:ext>
            </a:extLst>
          </p:cNvPr>
          <p:cNvSpPr txBox="1"/>
          <p:nvPr/>
        </p:nvSpPr>
        <p:spPr>
          <a:xfrm>
            <a:off x="8183650" y="75726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Gaps in Care Data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A203ED4C-4DFC-4653-A756-5F4EDC963DE4}"/>
              </a:ext>
            </a:extLst>
          </p:cNvPr>
          <p:cNvSpPr txBox="1"/>
          <p:nvPr/>
        </p:nvSpPr>
        <p:spPr>
          <a:xfrm>
            <a:off x="8183650" y="1019505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HCB Member and Revenue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CE273F4-0A4C-4DB3-A4B2-69BF39109014}"/>
              </a:ext>
            </a:extLst>
          </p:cNvPr>
          <p:cNvSpPr txBox="1"/>
          <p:nvPr/>
        </p:nvSpPr>
        <p:spPr>
          <a:xfrm>
            <a:off x="8183650" y="1525788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Health Hub Data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B26BF46D-0793-4370-BE04-275628741F1D}"/>
              </a:ext>
            </a:extLst>
          </p:cNvPr>
          <p:cNvSpPr txBox="1"/>
          <p:nvPr/>
        </p:nvSpPr>
        <p:spPr>
          <a:xfrm>
            <a:off x="8183650" y="1767639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Product Plans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3F81B852-B057-469C-B365-E18FC9667CBE}"/>
              </a:ext>
            </a:extLst>
          </p:cNvPr>
          <p:cNvSpPr txBox="1"/>
          <p:nvPr/>
        </p:nvSpPr>
        <p:spPr>
          <a:xfrm>
            <a:off x="8183650" y="200753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Clinical Source of Truth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38C33322-C26E-4DFC-A232-566E57355BF9}"/>
              </a:ext>
            </a:extLst>
          </p:cNvPr>
          <p:cNvSpPr txBox="1"/>
          <p:nvPr/>
        </p:nvSpPr>
        <p:spPr>
          <a:xfrm>
            <a:off x="8183650" y="225485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Customer 360 View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5A992221-229F-4E4B-B50C-ED689FAFEDA0}"/>
              </a:ext>
            </a:extLst>
          </p:cNvPr>
          <p:cNvSpPr txBox="1"/>
          <p:nvPr/>
        </p:nvSpPr>
        <p:spPr>
          <a:xfrm>
            <a:off x="8183650" y="126366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HCB Claims 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6427DCF8-C399-4C5D-A5C7-57C0B6E9FFD4}"/>
              </a:ext>
            </a:extLst>
          </p:cNvPr>
          <p:cNvSpPr txBox="1"/>
          <p:nvPr/>
        </p:nvSpPr>
        <p:spPr>
          <a:xfrm>
            <a:off x="8183650" y="2526317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External Marketing Data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839358AD-BA6A-4DA3-B27F-D24C1FB38B18}"/>
              </a:ext>
            </a:extLst>
          </p:cNvPr>
          <p:cNvSpPr txBox="1"/>
          <p:nvPr/>
        </p:nvSpPr>
        <p:spPr>
          <a:xfrm>
            <a:off x="10076576" y="2466256"/>
            <a:ext cx="15771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Enterprise Intake Tooling and Process</a:t>
            </a: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FF9D0D2E-A722-4641-A671-DB7CAA6B7E37}"/>
              </a:ext>
            </a:extLst>
          </p:cNvPr>
          <p:cNvSpPr/>
          <p:nvPr/>
        </p:nvSpPr>
        <p:spPr bwMode="gray">
          <a:xfrm>
            <a:off x="9800836" y="72508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0B95B121-06A0-4754-BFA4-B95962C637F3}"/>
              </a:ext>
            </a:extLst>
          </p:cNvPr>
          <p:cNvSpPr txBox="1"/>
          <p:nvPr/>
        </p:nvSpPr>
        <p:spPr>
          <a:xfrm>
            <a:off x="10076576" y="771483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Payer Agnostic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0F2440B3-93CB-4992-9465-ADE03C55DEFD}"/>
              </a:ext>
            </a:extLst>
          </p:cNvPr>
          <p:cNvSpPr txBox="1"/>
          <p:nvPr/>
        </p:nvSpPr>
        <p:spPr>
          <a:xfrm>
            <a:off x="10076576" y="101564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Integrated Value</a:t>
            </a: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070ABDD7-E89F-46A3-B8A8-2CCCC58D3461}"/>
              </a:ext>
            </a:extLst>
          </p:cNvPr>
          <p:cNvSpPr/>
          <p:nvPr/>
        </p:nvSpPr>
        <p:spPr bwMode="gray">
          <a:xfrm>
            <a:off x="9800836" y="1231489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04341FDE-7E79-4AA5-9330-C4608B29AAB5}"/>
              </a:ext>
            </a:extLst>
          </p:cNvPr>
          <p:cNvSpPr txBox="1"/>
          <p:nvPr/>
        </p:nvSpPr>
        <p:spPr>
          <a:xfrm>
            <a:off x="10076576" y="1277766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Kidney Care</a:t>
            </a: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B765A49C-6BC6-4175-9D46-CE72DA1EB1C1}"/>
              </a:ext>
            </a:extLst>
          </p:cNvPr>
          <p:cNvSpPr/>
          <p:nvPr/>
        </p:nvSpPr>
        <p:spPr bwMode="gray">
          <a:xfrm>
            <a:off x="9800836" y="1484690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E990146C-760C-48C3-A4E2-FC23990FDDC3}"/>
              </a:ext>
            </a:extLst>
          </p:cNvPr>
          <p:cNvSpPr txBox="1"/>
          <p:nvPr/>
        </p:nvSpPr>
        <p:spPr>
          <a:xfrm>
            <a:off x="10076576" y="1519617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Oncology</a:t>
            </a: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732DB425-8BF2-47E3-ABFF-94BC60AFB4B0}"/>
              </a:ext>
            </a:extLst>
          </p:cNvPr>
          <p:cNvSpPr/>
          <p:nvPr/>
        </p:nvSpPr>
        <p:spPr bwMode="gray">
          <a:xfrm>
            <a:off x="9800836" y="1737891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BA464E36-A985-4388-BBD5-FA829B8A7151}"/>
              </a:ext>
            </a:extLst>
          </p:cNvPr>
          <p:cNvSpPr txBox="1"/>
          <p:nvPr/>
        </p:nvSpPr>
        <p:spPr>
          <a:xfrm>
            <a:off x="10076576" y="175951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Minute Clinic (EMR)</a:t>
            </a:r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id="{EA705069-F394-4B6B-8767-6730E005B539}"/>
              </a:ext>
            </a:extLst>
          </p:cNvPr>
          <p:cNvSpPr/>
          <p:nvPr/>
        </p:nvSpPr>
        <p:spPr bwMode="gray">
          <a:xfrm>
            <a:off x="9800836" y="1991092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schemeClr val="bg1"/>
                </a:solidFill>
                <a:latin typeface="Arial"/>
              </a:rPr>
              <a:t>N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0D9A25A6-6536-48E0-A194-583A196E203E}"/>
              </a:ext>
            </a:extLst>
          </p:cNvPr>
          <p:cNvSpPr txBox="1"/>
          <p:nvPr/>
        </p:nvSpPr>
        <p:spPr>
          <a:xfrm>
            <a:off x="10076576" y="2006834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Coram Infusion Data</a:t>
            </a:r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E34D9A95-C92C-434A-8D61-672B36DF102B}"/>
              </a:ext>
            </a:extLst>
          </p:cNvPr>
          <p:cNvSpPr/>
          <p:nvPr/>
        </p:nvSpPr>
        <p:spPr bwMode="gray">
          <a:xfrm>
            <a:off x="9800836" y="2244295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12A7FD1-5151-48B6-904B-3698E08EB503}"/>
              </a:ext>
            </a:extLst>
          </p:cNvPr>
          <p:cNvSpPr txBox="1"/>
          <p:nvPr/>
        </p:nvSpPr>
        <p:spPr>
          <a:xfrm>
            <a:off x="10076576" y="2278295"/>
            <a:ext cx="15771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err="1">
                <a:solidFill>
                  <a:schemeClr val="tx2"/>
                </a:solidFill>
              </a:rPr>
              <a:t>RxAD</a:t>
            </a:r>
            <a:r>
              <a:rPr lang="en-US" sz="1000">
                <a:solidFill>
                  <a:schemeClr val="tx2"/>
                </a:solidFill>
              </a:rPr>
              <a:t> Dispositions</a:t>
            </a:r>
          </a:p>
        </p:txBody>
      </p:sp>
      <p:sp>
        <p:nvSpPr>
          <p:cNvPr id="215" name="Oval 214">
            <a:extLst>
              <a:ext uri="{FF2B5EF4-FFF2-40B4-BE49-F238E27FC236}">
                <a16:creationId xmlns:a16="http://schemas.microsoft.com/office/drawing/2014/main" id="{B5D74462-AF9A-4650-B80C-985E465EFB56}"/>
              </a:ext>
            </a:extLst>
          </p:cNvPr>
          <p:cNvSpPr/>
          <p:nvPr/>
        </p:nvSpPr>
        <p:spPr bwMode="gray">
          <a:xfrm>
            <a:off x="1701984" y="360848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</a:p>
        </p:txBody>
      </p:sp>
      <p:sp>
        <p:nvSpPr>
          <p:cNvPr id="216" name="Oval 215">
            <a:extLst>
              <a:ext uri="{FF2B5EF4-FFF2-40B4-BE49-F238E27FC236}">
                <a16:creationId xmlns:a16="http://schemas.microsoft.com/office/drawing/2014/main" id="{F43C1998-1AFC-4B75-B3EE-F9B60DA4F50D}"/>
              </a:ext>
            </a:extLst>
          </p:cNvPr>
          <p:cNvSpPr/>
          <p:nvPr/>
        </p:nvSpPr>
        <p:spPr bwMode="gray">
          <a:xfrm>
            <a:off x="1952216" y="360848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E809EA96-626C-4C82-85A9-69A44FDF519E}"/>
              </a:ext>
            </a:extLst>
          </p:cNvPr>
          <p:cNvSpPr/>
          <p:nvPr/>
        </p:nvSpPr>
        <p:spPr bwMode="gray">
          <a:xfrm>
            <a:off x="2112210" y="1952577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</a:t>
            </a: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5877D63E-2575-487C-B730-4C3CD0375158}"/>
              </a:ext>
            </a:extLst>
          </p:cNvPr>
          <p:cNvSpPr/>
          <p:nvPr/>
        </p:nvSpPr>
        <p:spPr bwMode="gray">
          <a:xfrm>
            <a:off x="9800836" y="971896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J</a:t>
            </a: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96B40B9E-FA21-4599-BBDA-96917DA6A252}"/>
              </a:ext>
            </a:extLst>
          </p:cNvPr>
          <p:cNvSpPr/>
          <p:nvPr/>
        </p:nvSpPr>
        <p:spPr bwMode="gray">
          <a:xfrm>
            <a:off x="7919797" y="3077334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Q</a:t>
            </a: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5A4DDEC0-66D9-4716-8BEF-8E25A01E9060}"/>
              </a:ext>
            </a:extLst>
          </p:cNvPr>
          <p:cNvSpPr/>
          <p:nvPr/>
        </p:nvSpPr>
        <p:spPr bwMode="gray">
          <a:xfrm>
            <a:off x="9800836" y="3077334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T</a:t>
            </a: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4F6EF595-21E9-409F-BE8D-A74A62FCC1B5}"/>
              </a:ext>
            </a:extLst>
          </p:cNvPr>
          <p:cNvSpPr/>
          <p:nvPr/>
        </p:nvSpPr>
        <p:spPr bwMode="gray">
          <a:xfrm>
            <a:off x="7919797" y="5871784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AB</a:t>
            </a: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084D7F09-32AF-4FC7-8B76-26AFE7F78BA6}"/>
              </a:ext>
            </a:extLst>
          </p:cNvPr>
          <p:cNvSpPr/>
          <p:nvPr/>
        </p:nvSpPr>
        <p:spPr bwMode="gray">
          <a:xfrm>
            <a:off x="1443461" y="3611814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</a:t>
            </a: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7DB163A6-EBFC-4D40-93FA-C89852700BD2}"/>
              </a:ext>
            </a:extLst>
          </p:cNvPr>
          <p:cNvSpPr/>
          <p:nvPr/>
        </p:nvSpPr>
        <p:spPr bwMode="gray">
          <a:xfrm>
            <a:off x="7919797" y="1971967"/>
            <a:ext cx="228600" cy="2286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7030A0"/>
              </a:gs>
            </a:gsLst>
            <a:lin ang="0" scaled="1"/>
            <a:tileRect/>
          </a:gra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>
                <a:solidFill>
                  <a:schemeClr val="bg1"/>
                </a:solidFill>
                <a:latin typeface="+mj-lt"/>
              </a:rPr>
              <a:t>F</a:t>
            </a:r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E3F354F1-B38F-4AC6-A7BE-FDD697EED1A3}"/>
              </a:ext>
            </a:extLst>
          </p:cNvPr>
          <p:cNvSpPr/>
          <p:nvPr/>
        </p:nvSpPr>
        <p:spPr bwMode="gray">
          <a:xfrm>
            <a:off x="7922319" y="5579733"/>
            <a:ext cx="228600" cy="228600"/>
          </a:xfrm>
          <a:prstGeom prst="ellipse">
            <a:avLst/>
          </a:prstGeom>
          <a:solidFill>
            <a:srgbClr val="7030A0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>
                <a:solidFill>
                  <a:prstClr val="white"/>
                </a:solidFill>
                <a:latin typeface="Arial"/>
              </a:rPr>
              <a:t>AA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89D70DE5-18E1-4A92-BEED-269C29D8A882}"/>
              </a:ext>
            </a:extLst>
          </p:cNvPr>
          <p:cNvSpPr/>
          <p:nvPr/>
        </p:nvSpPr>
        <p:spPr bwMode="gray">
          <a:xfrm>
            <a:off x="2587521" y="5921148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</a:t>
            </a: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2560E579-63FE-4F8C-B9D1-FF43B69D20B7}"/>
              </a:ext>
            </a:extLst>
          </p:cNvPr>
          <p:cNvSpPr/>
          <p:nvPr/>
        </p:nvSpPr>
        <p:spPr bwMode="gray">
          <a:xfrm>
            <a:off x="4182479" y="5565701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H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7120F577-D378-4A4B-BFD0-BC1287AD0301}"/>
              </a:ext>
            </a:extLst>
          </p:cNvPr>
          <p:cNvSpPr txBox="1"/>
          <p:nvPr/>
        </p:nvSpPr>
        <p:spPr>
          <a:xfrm>
            <a:off x="10091804" y="3045582"/>
            <a:ext cx="15771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Implement Communications and Change Management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781020F5-1748-4C07-965B-264B2026DCD5}"/>
              </a:ext>
            </a:extLst>
          </p:cNvPr>
          <p:cNvSpPr txBox="1"/>
          <p:nvPr/>
        </p:nvSpPr>
        <p:spPr>
          <a:xfrm>
            <a:off x="10076576" y="3565221"/>
            <a:ext cx="15771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2"/>
                </a:solidFill>
              </a:rPr>
              <a:t>Coordinate governance activities across enterprise </a:t>
            </a: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99EC91F8-18D4-429F-B1CC-B9A5284DC6BB}"/>
              </a:ext>
            </a:extLst>
          </p:cNvPr>
          <p:cNvSpPr/>
          <p:nvPr/>
        </p:nvSpPr>
        <p:spPr bwMode="gray">
          <a:xfrm>
            <a:off x="9800836" y="3620084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I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516AE49E-6332-4AF0-96A0-C70DB84D0F18}"/>
              </a:ext>
            </a:extLst>
          </p:cNvPr>
          <p:cNvSpPr/>
          <p:nvPr/>
        </p:nvSpPr>
        <p:spPr bwMode="gray">
          <a:xfrm>
            <a:off x="9800836" y="5893140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I</a:t>
            </a: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8FAD11FC-EDDF-49A9-BC4E-F66031BA1975}"/>
              </a:ext>
            </a:extLst>
          </p:cNvPr>
          <p:cNvSpPr/>
          <p:nvPr/>
        </p:nvSpPr>
        <p:spPr bwMode="gray">
          <a:xfrm>
            <a:off x="1733068" y="5252490"/>
            <a:ext cx="228600" cy="228600"/>
          </a:xfrm>
          <a:prstGeom prst="ellipse">
            <a:avLst/>
          </a:prstGeom>
          <a:solidFill>
            <a:srgbClr val="FF0202"/>
          </a:solidFill>
          <a:ln>
            <a:noFill/>
            <a:miter lim="800000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I</a:t>
            </a: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EED84E7F-DE45-49DB-B926-A44450395384}"/>
              </a:ext>
            </a:extLst>
          </p:cNvPr>
          <p:cNvSpPr/>
          <p:nvPr/>
        </p:nvSpPr>
        <p:spPr bwMode="gray">
          <a:xfrm>
            <a:off x="1361172" y="930043"/>
            <a:ext cx="2235482" cy="701069"/>
          </a:xfrm>
          <a:prstGeom prst="roundRect">
            <a:avLst/>
          </a:prstGeom>
          <a:solidFill>
            <a:srgbClr val="E94D4D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ata Availability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05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Proactive Data Identification, and On Demand) </a:t>
            </a: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2608F722-DDAB-4795-9517-65E04B97B42E}"/>
              </a:ext>
            </a:extLst>
          </p:cNvPr>
          <p:cNvSpPr/>
          <p:nvPr/>
        </p:nvSpPr>
        <p:spPr bwMode="gray">
          <a:xfrm>
            <a:off x="4159310" y="2193130"/>
            <a:ext cx="2459030" cy="723639"/>
          </a:xfrm>
          <a:prstGeom prst="round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ata Governance and Ownership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50">
                <a:cs typeface="Calibri" panose="020F0502020204030204" pitchFamily="34" charset="0"/>
              </a:rPr>
              <a:t>Data Stewardship, Metadata Management and Data Quality, 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050">
                <a:cs typeface="Calibri" panose="020F0502020204030204" pitchFamily="34" charset="0"/>
              </a:rPr>
              <a:t>Data Security and Compliance )</a:t>
            </a:r>
          </a:p>
        </p:txBody>
      </p:sp>
      <p:sp>
        <p:nvSpPr>
          <p:cNvPr id="149" name="Rectangle: Rounded Corners 148">
            <a:extLst>
              <a:ext uri="{FF2B5EF4-FFF2-40B4-BE49-F238E27FC236}">
                <a16:creationId xmlns:a16="http://schemas.microsoft.com/office/drawing/2014/main" id="{90E72F5F-CD6A-402E-B34F-9AC773A17892}"/>
              </a:ext>
            </a:extLst>
          </p:cNvPr>
          <p:cNvSpPr/>
          <p:nvPr/>
        </p:nvSpPr>
        <p:spPr bwMode="gray">
          <a:xfrm>
            <a:off x="5004160" y="4748877"/>
            <a:ext cx="2543670" cy="871236"/>
          </a:xfrm>
          <a:prstGeom prst="roundRect">
            <a:avLst/>
          </a:prstGeom>
          <a:solidFill>
            <a:schemeClr val="accent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050" b="1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ata Management, Delivery and Infrastructure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05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Data Management and Operations, Data Delivery and Consumption, Infrastructure and Technology)</a:t>
            </a:r>
          </a:p>
        </p:txBody>
      </p:sp>
    </p:spTree>
    <p:extLst>
      <p:ext uri="{BB962C8B-B14F-4D97-AF65-F5344CB8AC3E}">
        <p14:creationId xmlns:p14="http://schemas.microsoft.com/office/powerpoint/2010/main" val="32447501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1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xt Ste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Platform will need a product funding model with ownership by CVS Busines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l="9002" r="10515"/>
          <a:stretch/>
        </p:blipFill>
        <p:spPr>
          <a:xfrm>
            <a:off x="10126832" y="1553575"/>
            <a:ext cx="2075015" cy="530259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628198" y="4794060"/>
            <a:ext cx="3251371" cy="16102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4" tIns="91416" rIns="182832" bIns="91416" rtlCol="0" anchor="ctr"/>
          <a:lstStyle/>
          <a:p>
            <a:pPr marL="194252" indent="-194252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fine and implement common data Ingestion process</a:t>
            </a:r>
          </a:p>
          <a:p>
            <a:pPr marL="194252" indent="-194252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lement phase one of cloud strategy </a:t>
            </a:r>
          </a:p>
          <a:p>
            <a:pPr marL="194252" indent="-194252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unch Data Catalog for current data in UDF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757" y="1720609"/>
            <a:ext cx="9883136" cy="4693515"/>
            <a:chOff x="2121587" y="1750262"/>
            <a:chExt cx="8790418" cy="3819209"/>
          </a:xfrm>
        </p:grpSpPr>
        <p:sp>
          <p:nvSpPr>
            <p:cNvPr id="9" name="Rectangle 8"/>
            <p:cNvSpPr/>
            <p:nvPr/>
          </p:nvSpPr>
          <p:spPr>
            <a:xfrm>
              <a:off x="10844836" y="4256226"/>
              <a:ext cx="67167" cy="130522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9"/>
            <p:cNvSpPr>
              <a:spLocks noChangeAspect="1"/>
            </p:cNvSpPr>
            <p:nvPr/>
          </p:nvSpPr>
          <p:spPr>
            <a:xfrm>
              <a:off x="2325386" y="2270171"/>
              <a:ext cx="852564" cy="191732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anchor="ctr" anchorCtr="0">
              <a:no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400" b="1">
                  <a:solidFill>
                    <a:schemeClr val="accent1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CDO &amp; Product Council</a:t>
              </a:r>
            </a:p>
          </p:txBody>
        </p:sp>
        <p:sp>
          <p:nvSpPr>
            <p:cNvPr id="11" name="Rectangle 10"/>
            <p:cNvSpPr>
              <a:spLocks noChangeAspect="1"/>
            </p:cNvSpPr>
            <p:nvPr/>
          </p:nvSpPr>
          <p:spPr>
            <a:xfrm>
              <a:off x="2330169" y="4251192"/>
              <a:ext cx="844123" cy="131827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anchor="ctr" anchorCtr="0">
              <a:no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400" b="1">
                  <a:solidFill>
                    <a:schemeClr val="accent1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Data Platform Product Team &amp; Product Council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8010934" y="2278240"/>
              <a:ext cx="2901071" cy="1903372"/>
              <a:chOff x="4841428" y="4371872"/>
              <a:chExt cx="2901071" cy="1903372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4841428" y="4371874"/>
                <a:ext cx="2897824" cy="190336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24" tIns="91416" rIns="182832" bIns="91416" rtlCol="0" anchor="ctr"/>
              <a:lstStyle/>
              <a:p>
                <a:pPr marL="194252" indent="-194252">
                  <a:spcAft>
                    <a:spcPts val="500"/>
                  </a:spcAft>
                  <a:buFont typeface="Arial" panose="020B0604020202020204" pitchFamily="34" charset="0"/>
                  <a:buChar char="•"/>
                </a:pPr>
                <a:r>
                  <a:rPr lang="en-US" sz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Implement Data stewardship plan</a:t>
                </a:r>
              </a:p>
              <a:p>
                <a:pPr marL="194252" indent="-194252">
                  <a:spcAft>
                    <a:spcPts val="500"/>
                  </a:spcAft>
                  <a:buFont typeface="Arial" panose="020B0604020202020204" pitchFamily="34" charset="0"/>
                  <a:buChar char="•"/>
                </a:pPr>
                <a:r>
                  <a:rPr lang="en-US" sz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Manage and monitor data platform execution plan</a:t>
                </a: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7675332" y="4371872"/>
                <a:ext cx="67167" cy="190337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32" tIns="91416" rIns="182832" rtlCol="0" anchor="t"/>
              <a:lstStyle/>
              <a:p>
                <a:pPr marL="194252" indent="-194252">
                  <a:spcBef>
                    <a:spcPts val="500"/>
                  </a:spcBef>
                  <a:buFont typeface="Arial" panose="020B0604020202020204" pitchFamily="34" charset="0"/>
                  <a:buChar char="•"/>
                </a:pPr>
                <a:endParaRPr lang="en-US" sz="1400" i="1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3" name="Rectangle 12"/>
            <p:cNvSpPr/>
            <p:nvPr/>
          </p:nvSpPr>
          <p:spPr>
            <a:xfrm>
              <a:off x="3264306" y="4256224"/>
              <a:ext cx="4677128" cy="130522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274249" bIns="91416" rtlCol="0" anchor="ctr"/>
            <a:lstStyle/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lign on 2020 and 2021 Platform roadmap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efine the cloud strategy for the Data platform 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mplement Data Catalog and metadata tooling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Evaluate tooling for ETL/Ingest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884447" y="4256224"/>
              <a:ext cx="73884" cy="130522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121587" y="1930028"/>
              <a:ext cx="1189877" cy="435196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/>
              <a:r>
                <a:rPr lang="en-US" sz="1899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Owner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264306" y="2278240"/>
              <a:ext cx="4677128" cy="19033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91416" rIns="182832" bIns="91416" rtlCol="0" anchor="ctr"/>
            <a:lstStyle/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dentify, validate and submit budget submissions for 2021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ctivate Data Platform Product Council and Capability Groups  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lan and align on data governance policies and rules. </a:t>
              </a:r>
            </a:p>
            <a:p>
              <a:pPr marL="194252" indent="-194252">
                <a:spcAft>
                  <a:spcPts val="50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Maintain and update Data Platform product roadmaps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884447" y="2278240"/>
              <a:ext cx="73884" cy="190337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indent="-194252"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i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264307" y="1750262"/>
              <a:ext cx="7638516" cy="524798"/>
              <a:chOff x="-88671" y="2103112"/>
              <a:chExt cx="7959019" cy="524798"/>
            </a:xfrm>
          </p:grpSpPr>
          <p:sp>
            <p:nvSpPr>
              <p:cNvPr id="19" name="Right Arrow 18"/>
              <p:cNvSpPr/>
              <p:nvPr/>
            </p:nvSpPr>
            <p:spPr>
              <a:xfrm>
                <a:off x="-88671" y="2103112"/>
                <a:ext cx="7959019" cy="524798"/>
              </a:xfrm>
              <a:prstGeom prst="rightArrow">
                <a:avLst>
                  <a:gd name="adj1" fmla="val 70655"/>
                  <a:gd name="adj2" fmla="val 50000"/>
                </a:avLst>
              </a:prstGeom>
              <a:gradFill flip="none" rotWithShape="1">
                <a:gsLst>
                  <a:gs pos="27000">
                    <a:schemeClr val="accent2"/>
                  </a:gs>
                  <a:gs pos="63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b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6014116" y="2177727"/>
                <a:ext cx="1856231" cy="37556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Long-Term Action</a:t>
                </a:r>
              </a:p>
              <a:p>
                <a:pPr algn="ctr"/>
                <a:r>
                  <a:rPr lang="en-US" sz="1200" b="1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&gt;6 months)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37733" y="2177727"/>
                <a:ext cx="1349340" cy="375568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Near-Term Action</a:t>
                </a:r>
              </a:p>
              <a:p>
                <a:pPr algn="ctr"/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&lt;6 months)</a:t>
                </a:r>
              </a:p>
            </p:txBody>
          </p:sp>
        </p:grpSp>
      </p:grpSp>
      <p:sp>
        <p:nvSpPr>
          <p:cNvPr id="24" name="Rectangle 23"/>
          <p:cNvSpPr/>
          <p:nvPr/>
        </p:nvSpPr>
        <p:spPr>
          <a:xfrm flipH="1">
            <a:off x="10014317" y="1553575"/>
            <a:ext cx="144732" cy="5302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759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194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en-US" sz="3600"/>
              <a:t>Connected Platforms</a:t>
            </a:r>
          </a:p>
          <a:p>
            <a:endParaRPr lang="en-US"/>
          </a:p>
          <a:p>
            <a:endParaRPr lang="en-US"/>
          </a:p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Platform Operating Model</a:t>
            </a:r>
          </a:p>
        </p:txBody>
      </p:sp>
    </p:spTree>
    <p:extLst>
      <p:ext uri="{BB962C8B-B14F-4D97-AF65-F5344CB8AC3E}">
        <p14:creationId xmlns:p14="http://schemas.microsoft.com/office/powerpoint/2010/main" val="315564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E39E1-EB11-4AA4-B3F0-A2AB457DB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02587"/>
            <a:ext cx="9663450" cy="284038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ata Platform would be governed and managed by three group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4A6D7A8-EAEB-40B7-9BAD-2B4B18BB284F}"/>
              </a:ext>
            </a:extLst>
          </p:cNvPr>
          <p:cNvSpPr/>
          <p:nvPr/>
        </p:nvSpPr>
        <p:spPr bwMode="gray">
          <a:xfrm>
            <a:off x="561735" y="1467646"/>
            <a:ext cx="7062162" cy="4565406"/>
          </a:xfrm>
          <a:prstGeom prst="rect">
            <a:avLst/>
          </a:prstGeom>
          <a:noFill/>
          <a:ln>
            <a:solidFill>
              <a:schemeClr val="accent5"/>
            </a:solidFill>
            <a:prstDash val="lgDash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 b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019497DD-709C-42AF-BD37-261CF69C01B8}"/>
              </a:ext>
            </a:extLst>
          </p:cNvPr>
          <p:cNvSpPr/>
          <p:nvPr/>
        </p:nvSpPr>
        <p:spPr bwMode="gray">
          <a:xfrm>
            <a:off x="2257320" y="1359303"/>
            <a:ext cx="3670995" cy="223104"/>
          </a:xfrm>
          <a:prstGeom prst="roundRect">
            <a:avLst/>
          </a:prstGeom>
          <a:solidFill>
            <a:schemeClr val="bg1"/>
          </a:solidFill>
          <a:ln>
            <a:solidFill>
              <a:schemeClr val="accent5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>
                <a:solidFill>
                  <a:srgbClr val="000000"/>
                </a:solidFill>
                <a:latin typeface="Arial"/>
              </a:rPr>
              <a:t>Platform Operating Model Groups</a:t>
            </a:r>
          </a:p>
        </p:txBody>
      </p:sp>
      <p:sp>
        <p:nvSpPr>
          <p:cNvPr id="73" name="Rounded Rectangle 4">
            <a:extLst>
              <a:ext uri="{FF2B5EF4-FFF2-40B4-BE49-F238E27FC236}">
                <a16:creationId xmlns:a16="http://schemas.microsoft.com/office/drawing/2014/main" id="{72DF4F19-2F7B-4C32-AC77-DED7EF60AB53}"/>
              </a:ext>
            </a:extLst>
          </p:cNvPr>
          <p:cNvSpPr/>
          <p:nvPr/>
        </p:nvSpPr>
        <p:spPr>
          <a:xfrm>
            <a:off x="671390" y="1650478"/>
            <a:ext cx="6842852" cy="1130020"/>
          </a:xfrm>
          <a:prstGeom prst="roundRect">
            <a:avLst>
              <a:gd name="adj" fmla="val 11668"/>
            </a:avLst>
          </a:prstGeom>
          <a:solidFill>
            <a:schemeClr val="accent2"/>
          </a:solidFill>
          <a:ln w="6350">
            <a:noFill/>
          </a:ln>
          <a:effectLst/>
        </p:spPr>
        <p:txBody>
          <a:bodyPr lIns="36000" tIns="36000" rIns="36000" bIns="36000" anchor="t"/>
          <a:lstStyle/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kern="0">
                <a:solidFill>
                  <a:srgbClr val="FFFFFF"/>
                </a:solidFill>
                <a:latin typeface="Arial"/>
              </a:rPr>
              <a:t>Product Council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200" kern="0">
                <a:solidFill>
                  <a:prstClr val="white"/>
                </a:solidFill>
                <a:latin typeface="Arial"/>
              </a:rPr>
              <a:t>Platform owner(s) oversee the Data Platform by refining platform vision, developing product roadmap, and ensuring alignment to enterprise priorities</a:t>
            </a:r>
          </a:p>
        </p:txBody>
      </p:sp>
      <p:sp>
        <p:nvSpPr>
          <p:cNvPr id="79" name="Rounded Rectangle 6">
            <a:extLst>
              <a:ext uri="{FF2B5EF4-FFF2-40B4-BE49-F238E27FC236}">
                <a16:creationId xmlns:a16="http://schemas.microsoft.com/office/drawing/2014/main" id="{53305C72-47A0-4FD4-BE80-254A5D804993}"/>
              </a:ext>
            </a:extLst>
          </p:cNvPr>
          <p:cNvSpPr/>
          <p:nvPr/>
        </p:nvSpPr>
        <p:spPr>
          <a:xfrm>
            <a:off x="5190286" y="2880542"/>
            <a:ext cx="2323957" cy="3065935"/>
          </a:xfrm>
          <a:prstGeom prst="roundRect">
            <a:avLst>
              <a:gd name="adj" fmla="val 7006"/>
            </a:avLst>
          </a:prstGeom>
          <a:solidFill>
            <a:schemeClr val="accent3"/>
          </a:solidFill>
          <a:ln w="6350">
            <a:noFill/>
          </a:ln>
          <a:effectLst/>
        </p:spPr>
        <p:txBody>
          <a:bodyPr lIns="36000" tIns="36000" rIns="36000" bIns="36000" anchor="t"/>
          <a:lstStyle/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kern="0">
                <a:solidFill>
                  <a:prstClr val="white"/>
                </a:solidFill>
                <a:latin typeface="Arial"/>
              </a:rPr>
              <a:t>Platform Architects and Platform PMO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200" kern="0">
                <a:solidFill>
                  <a:prstClr val="white"/>
                </a:solidFill>
                <a:latin typeface="Arial"/>
              </a:rPr>
              <a:t>Architects translate strategy and product roadmap into platform architecture and PMO coordinate delivery </a:t>
            </a:r>
            <a:endParaRPr lang="en-GB" sz="11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F1FA729-1CFB-4946-B61E-9F7F37BEEA8F}"/>
              </a:ext>
            </a:extLst>
          </p:cNvPr>
          <p:cNvSpPr txBox="1"/>
          <p:nvPr/>
        </p:nvSpPr>
        <p:spPr>
          <a:xfrm>
            <a:off x="5745163" y="5321183"/>
            <a:ext cx="12050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Platform PMO</a:t>
            </a:r>
          </a:p>
        </p:txBody>
      </p:sp>
      <p:sp>
        <p:nvSpPr>
          <p:cNvPr id="102" name="Freeform 54">
            <a:extLst>
              <a:ext uri="{FF2B5EF4-FFF2-40B4-BE49-F238E27FC236}">
                <a16:creationId xmlns:a16="http://schemas.microsoft.com/office/drawing/2014/main" id="{EEFA70D7-EFEA-466A-B809-FDAD3CAD4434}"/>
              </a:ext>
            </a:extLst>
          </p:cNvPr>
          <p:cNvSpPr>
            <a:spLocks noChangeAspect="1"/>
          </p:cNvSpPr>
          <p:nvPr/>
        </p:nvSpPr>
        <p:spPr bwMode="auto">
          <a:xfrm>
            <a:off x="5370391" y="5277796"/>
            <a:ext cx="314011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0B17B00-D420-4A2B-8EC5-ED2F136B0272}"/>
              </a:ext>
            </a:extLst>
          </p:cNvPr>
          <p:cNvSpPr txBox="1"/>
          <p:nvPr/>
        </p:nvSpPr>
        <p:spPr>
          <a:xfrm>
            <a:off x="5747537" y="4387737"/>
            <a:ext cx="16163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Platform Architect(s)</a:t>
            </a:r>
          </a:p>
        </p:txBody>
      </p:sp>
      <p:sp>
        <p:nvSpPr>
          <p:cNvPr id="114" name="Freeform 54">
            <a:extLst>
              <a:ext uri="{FF2B5EF4-FFF2-40B4-BE49-F238E27FC236}">
                <a16:creationId xmlns:a16="http://schemas.microsoft.com/office/drawing/2014/main" id="{902A341A-B3E2-4168-9478-9DE17C915D61}"/>
              </a:ext>
            </a:extLst>
          </p:cNvPr>
          <p:cNvSpPr>
            <a:spLocks noChangeAspect="1"/>
          </p:cNvSpPr>
          <p:nvPr/>
        </p:nvSpPr>
        <p:spPr bwMode="auto">
          <a:xfrm>
            <a:off x="5372764" y="4344350"/>
            <a:ext cx="314011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B3463ED3-CA1B-4350-97AC-A7BF32F503BB}"/>
              </a:ext>
            </a:extLst>
          </p:cNvPr>
          <p:cNvSpPr txBox="1"/>
          <p:nvPr/>
        </p:nvSpPr>
        <p:spPr>
          <a:xfrm>
            <a:off x="5745163" y="4863983"/>
            <a:ext cx="16498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Solution Architect(s)</a:t>
            </a:r>
          </a:p>
        </p:txBody>
      </p:sp>
      <p:sp>
        <p:nvSpPr>
          <p:cNvPr id="120" name="Freeform 54">
            <a:extLst>
              <a:ext uri="{FF2B5EF4-FFF2-40B4-BE49-F238E27FC236}">
                <a16:creationId xmlns:a16="http://schemas.microsoft.com/office/drawing/2014/main" id="{EC3443C7-79BF-4FE0-922E-FF3E04EF262C}"/>
              </a:ext>
            </a:extLst>
          </p:cNvPr>
          <p:cNvSpPr>
            <a:spLocks noChangeAspect="1"/>
          </p:cNvSpPr>
          <p:nvPr/>
        </p:nvSpPr>
        <p:spPr bwMode="auto">
          <a:xfrm>
            <a:off x="5370391" y="4820596"/>
            <a:ext cx="314011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74" name="Rounded Rectangle 5">
            <a:extLst>
              <a:ext uri="{FF2B5EF4-FFF2-40B4-BE49-F238E27FC236}">
                <a16:creationId xmlns:a16="http://schemas.microsoft.com/office/drawing/2014/main" id="{14583FF8-2308-4656-9EEB-D39AE0FB2E03}"/>
              </a:ext>
            </a:extLst>
          </p:cNvPr>
          <p:cNvSpPr/>
          <p:nvPr/>
        </p:nvSpPr>
        <p:spPr>
          <a:xfrm>
            <a:off x="671391" y="2880542"/>
            <a:ext cx="4444040" cy="3065934"/>
          </a:xfrm>
          <a:prstGeom prst="roundRect">
            <a:avLst>
              <a:gd name="adj" fmla="val 10119"/>
            </a:avLst>
          </a:prstGeom>
          <a:solidFill>
            <a:schemeClr val="accent1"/>
          </a:solidFill>
          <a:ln w="6350">
            <a:noFill/>
          </a:ln>
          <a:effectLst/>
        </p:spPr>
        <p:txBody>
          <a:bodyPr lIns="36000" tIns="36000" rIns="36000" bIns="36000" anchor="t"/>
          <a:lstStyle/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kern="0">
                <a:solidFill>
                  <a:prstClr val="white"/>
                </a:solidFill>
                <a:latin typeface="Arial"/>
              </a:rPr>
              <a:t>Capability Groups</a:t>
            </a:r>
          </a:p>
          <a:p>
            <a:pP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Capability groups oversee the creation of specific capabilities (e.g. Data Platform Services) within the product in alignment with the overall Product vision and roadmap</a:t>
            </a:r>
          </a:p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endParaRPr lang="en-GB" sz="900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44D11DD4-55C7-4497-BF63-A66EE6A97FDA}"/>
              </a:ext>
            </a:extLst>
          </p:cNvPr>
          <p:cNvSpPr/>
          <p:nvPr/>
        </p:nvSpPr>
        <p:spPr bwMode="gray">
          <a:xfrm>
            <a:off x="868790" y="3945833"/>
            <a:ext cx="1962009" cy="19440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 b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23" name="Freeform 54">
            <a:extLst>
              <a:ext uri="{FF2B5EF4-FFF2-40B4-BE49-F238E27FC236}">
                <a16:creationId xmlns:a16="http://schemas.microsoft.com/office/drawing/2014/main" id="{1826021E-37AD-4575-B9A2-57F78CF6381E}"/>
              </a:ext>
            </a:extLst>
          </p:cNvPr>
          <p:cNvSpPr>
            <a:spLocks noChangeAspect="1"/>
          </p:cNvSpPr>
          <p:nvPr/>
        </p:nvSpPr>
        <p:spPr bwMode="auto">
          <a:xfrm>
            <a:off x="885315" y="4144641"/>
            <a:ext cx="313388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61D4470-BC8D-4566-979B-623739433E19}"/>
              </a:ext>
            </a:extLst>
          </p:cNvPr>
          <p:cNvSpPr txBox="1"/>
          <p:nvPr/>
        </p:nvSpPr>
        <p:spPr>
          <a:xfrm>
            <a:off x="1145971" y="4203417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Capability Owner(s)</a:t>
            </a:r>
          </a:p>
        </p:txBody>
      </p:sp>
      <p:sp>
        <p:nvSpPr>
          <p:cNvPr id="125" name="Freeform 54">
            <a:extLst>
              <a:ext uri="{FF2B5EF4-FFF2-40B4-BE49-F238E27FC236}">
                <a16:creationId xmlns:a16="http://schemas.microsoft.com/office/drawing/2014/main" id="{5EFA12BB-4235-40E0-9BC1-F9BCCE220230}"/>
              </a:ext>
            </a:extLst>
          </p:cNvPr>
          <p:cNvSpPr>
            <a:spLocks noChangeAspect="1"/>
          </p:cNvSpPr>
          <p:nvPr/>
        </p:nvSpPr>
        <p:spPr bwMode="auto">
          <a:xfrm>
            <a:off x="885315" y="4481094"/>
            <a:ext cx="313388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9B740ABF-9F3A-42D4-B8CE-F21A8E8B10DD}"/>
              </a:ext>
            </a:extLst>
          </p:cNvPr>
          <p:cNvSpPr txBox="1"/>
          <p:nvPr/>
        </p:nvSpPr>
        <p:spPr>
          <a:xfrm>
            <a:off x="1145971" y="4539870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Business Stakeholders</a:t>
            </a:r>
          </a:p>
        </p:txBody>
      </p:sp>
      <p:sp>
        <p:nvSpPr>
          <p:cNvPr id="127" name="Freeform 54">
            <a:extLst>
              <a:ext uri="{FF2B5EF4-FFF2-40B4-BE49-F238E27FC236}">
                <a16:creationId xmlns:a16="http://schemas.microsoft.com/office/drawing/2014/main" id="{DED1624F-9BED-4FF6-8800-997C80823742}"/>
              </a:ext>
            </a:extLst>
          </p:cNvPr>
          <p:cNvSpPr>
            <a:spLocks noChangeAspect="1"/>
          </p:cNvSpPr>
          <p:nvPr/>
        </p:nvSpPr>
        <p:spPr bwMode="auto">
          <a:xfrm>
            <a:off x="885316" y="4817547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0FAB672-4A29-4DA9-8289-9D15432952B6}"/>
              </a:ext>
            </a:extLst>
          </p:cNvPr>
          <p:cNvSpPr txBox="1"/>
          <p:nvPr/>
        </p:nvSpPr>
        <p:spPr>
          <a:xfrm>
            <a:off x="1145971" y="4885914"/>
            <a:ext cx="17253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Technology Stakeholders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825D760-84D1-449C-AC87-C9BCD9971E35}"/>
              </a:ext>
            </a:extLst>
          </p:cNvPr>
          <p:cNvSpPr txBox="1"/>
          <p:nvPr/>
        </p:nvSpPr>
        <p:spPr>
          <a:xfrm>
            <a:off x="1144605" y="3979627"/>
            <a:ext cx="169494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9E0000"/>
                </a:solidFill>
                <a:latin typeface="Arial"/>
              </a:rPr>
              <a:t>Capability Council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2903D29-C926-4D3D-B82B-683FE70B56AF}"/>
              </a:ext>
            </a:extLst>
          </p:cNvPr>
          <p:cNvSpPr txBox="1"/>
          <p:nvPr/>
        </p:nvSpPr>
        <p:spPr>
          <a:xfrm>
            <a:off x="1145971" y="5212776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Platform Architect(s)</a:t>
            </a:r>
          </a:p>
        </p:txBody>
      </p:sp>
      <p:sp>
        <p:nvSpPr>
          <p:cNvPr id="131" name="Freeform 54">
            <a:extLst>
              <a:ext uri="{FF2B5EF4-FFF2-40B4-BE49-F238E27FC236}">
                <a16:creationId xmlns:a16="http://schemas.microsoft.com/office/drawing/2014/main" id="{22031FFC-F62F-42E5-B872-746D0F90AA0E}"/>
              </a:ext>
            </a:extLst>
          </p:cNvPr>
          <p:cNvSpPr>
            <a:spLocks noChangeAspect="1"/>
          </p:cNvSpPr>
          <p:nvPr/>
        </p:nvSpPr>
        <p:spPr bwMode="auto">
          <a:xfrm>
            <a:off x="885316" y="5154000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77" name="Freeform 220">
            <a:extLst>
              <a:ext uri="{FF2B5EF4-FFF2-40B4-BE49-F238E27FC236}">
                <a16:creationId xmlns:a16="http://schemas.microsoft.com/office/drawing/2014/main" id="{5EEDA58F-4B76-41EB-B1D9-5B689D0EC355}"/>
              </a:ext>
            </a:extLst>
          </p:cNvPr>
          <p:cNvSpPr>
            <a:spLocks/>
          </p:cNvSpPr>
          <p:nvPr/>
        </p:nvSpPr>
        <p:spPr bwMode="auto">
          <a:xfrm flipV="1">
            <a:off x="8091104" y="4284140"/>
            <a:ext cx="498169" cy="188604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049668-FEB7-4ECD-BA78-F0CD352395C4}"/>
              </a:ext>
            </a:extLst>
          </p:cNvPr>
          <p:cNvSpPr/>
          <p:nvPr/>
        </p:nvSpPr>
        <p:spPr>
          <a:xfrm>
            <a:off x="7654387" y="4758440"/>
            <a:ext cx="1371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i="1">
                <a:solidFill>
                  <a:srgbClr val="000000"/>
                </a:solidFill>
                <a:latin typeface="Arial"/>
              </a:rPr>
              <a:t>Architects help coordinate architecture and PMO coordinates execution across LOB IT</a:t>
            </a:r>
          </a:p>
        </p:txBody>
      </p:sp>
      <p:sp>
        <p:nvSpPr>
          <p:cNvPr id="165" name="Freeform 220">
            <a:extLst>
              <a:ext uri="{FF2B5EF4-FFF2-40B4-BE49-F238E27FC236}">
                <a16:creationId xmlns:a16="http://schemas.microsoft.com/office/drawing/2014/main" id="{5F2A4019-FD63-42E0-ADB6-0D95F55F9EF9}"/>
              </a:ext>
            </a:extLst>
          </p:cNvPr>
          <p:cNvSpPr>
            <a:spLocks/>
          </p:cNvSpPr>
          <p:nvPr/>
        </p:nvSpPr>
        <p:spPr bwMode="auto">
          <a:xfrm rot="10551672" flipV="1">
            <a:off x="8091104" y="4547376"/>
            <a:ext cx="498169" cy="188604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6EC18A6-F8D2-44AF-9E5F-6D8B048D59B7}"/>
              </a:ext>
            </a:extLst>
          </p:cNvPr>
          <p:cNvSpPr/>
          <p:nvPr/>
        </p:nvSpPr>
        <p:spPr>
          <a:xfrm>
            <a:off x="7654387" y="2563672"/>
            <a:ext cx="1371600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i="1">
                <a:solidFill>
                  <a:srgbClr val="000000"/>
                </a:solidFill>
                <a:latin typeface="Arial"/>
              </a:rPr>
              <a:t>Platform Steering Committee and Capability Councils help coordinate demand and investment across LOB</a:t>
            </a:r>
          </a:p>
        </p:txBody>
      </p:sp>
      <p:sp>
        <p:nvSpPr>
          <p:cNvPr id="166" name="Freeform 220">
            <a:extLst>
              <a:ext uri="{FF2B5EF4-FFF2-40B4-BE49-F238E27FC236}">
                <a16:creationId xmlns:a16="http://schemas.microsoft.com/office/drawing/2014/main" id="{7DD2DD2C-6803-496D-86C0-C42229E7B48C}"/>
              </a:ext>
            </a:extLst>
          </p:cNvPr>
          <p:cNvSpPr>
            <a:spLocks/>
          </p:cNvSpPr>
          <p:nvPr/>
        </p:nvSpPr>
        <p:spPr bwMode="auto">
          <a:xfrm flipV="1">
            <a:off x="8091104" y="2089441"/>
            <a:ext cx="498169" cy="188604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Freeform 220">
            <a:extLst>
              <a:ext uri="{FF2B5EF4-FFF2-40B4-BE49-F238E27FC236}">
                <a16:creationId xmlns:a16="http://schemas.microsoft.com/office/drawing/2014/main" id="{5CB7ADF9-D4AF-4876-AC61-44A0C6DFC6D3}"/>
              </a:ext>
            </a:extLst>
          </p:cNvPr>
          <p:cNvSpPr>
            <a:spLocks/>
          </p:cNvSpPr>
          <p:nvPr/>
        </p:nvSpPr>
        <p:spPr bwMode="auto">
          <a:xfrm rot="10551672" flipV="1">
            <a:off x="8091104" y="2352677"/>
            <a:ext cx="498169" cy="188604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3" name="Freeform 220">
            <a:extLst>
              <a:ext uri="{FF2B5EF4-FFF2-40B4-BE49-F238E27FC236}">
                <a16:creationId xmlns:a16="http://schemas.microsoft.com/office/drawing/2014/main" id="{0EE1DED1-651B-4D01-895E-96141AA9F511}"/>
              </a:ext>
            </a:extLst>
          </p:cNvPr>
          <p:cNvSpPr>
            <a:spLocks/>
          </p:cNvSpPr>
          <p:nvPr/>
        </p:nvSpPr>
        <p:spPr bwMode="auto">
          <a:xfrm flipV="1">
            <a:off x="8091104" y="1872165"/>
            <a:ext cx="498169" cy="188604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AB01E17-95F5-4A6C-9A9D-82F10D91BD56}"/>
              </a:ext>
            </a:extLst>
          </p:cNvPr>
          <p:cNvSpPr txBox="1"/>
          <p:nvPr/>
        </p:nvSpPr>
        <p:spPr>
          <a:xfrm>
            <a:off x="1145971" y="5549228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Platform PMO</a:t>
            </a:r>
          </a:p>
        </p:txBody>
      </p:sp>
      <p:sp>
        <p:nvSpPr>
          <p:cNvPr id="62" name="Freeform 54">
            <a:extLst>
              <a:ext uri="{FF2B5EF4-FFF2-40B4-BE49-F238E27FC236}">
                <a16:creationId xmlns:a16="http://schemas.microsoft.com/office/drawing/2014/main" id="{125D2AB1-B168-43B8-BDAE-5F7E0810A46A}"/>
              </a:ext>
            </a:extLst>
          </p:cNvPr>
          <p:cNvSpPr>
            <a:spLocks noChangeAspect="1"/>
          </p:cNvSpPr>
          <p:nvPr/>
        </p:nvSpPr>
        <p:spPr bwMode="auto">
          <a:xfrm>
            <a:off x="885316" y="5490452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2B39CF2-F588-4BAA-8EE3-037B9AF01211}"/>
              </a:ext>
            </a:extLst>
          </p:cNvPr>
          <p:cNvGrpSpPr/>
          <p:nvPr/>
        </p:nvGrpSpPr>
        <p:grpSpPr>
          <a:xfrm>
            <a:off x="1329947" y="2399245"/>
            <a:ext cx="992605" cy="369332"/>
            <a:chOff x="1329947" y="2399245"/>
            <a:chExt cx="992605" cy="369332"/>
          </a:xfrm>
        </p:grpSpPr>
        <p:sp>
          <p:nvSpPr>
            <p:cNvPr id="89" name="Freeform 54">
              <a:extLst>
                <a:ext uri="{FF2B5EF4-FFF2-40B4-BE49-F238E27FC236}">
                  <a16:creationId xmlns:a16="http://schemas.microsoft.com/office/drawing/2014/main" id="{57BDD5E2-0985-4FD8-AC6C-453BBCB5A9D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29947" y="2432801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F37C34D6-7F40-4357-9B89-7BEBE32692D7}"/>
                </a:ext>
              </a:extLst>
            </p:cNvPr>
            <p:cNvSpPr txBox="1"/>
            <p:nvPr/>
          </p:nvSpPr>
          <p:spPr>
            <a:xfrm>
              <a:off x="1693742" y="2399245"/>
              <a:ext cx="62881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</a:rPr>
                <a:t>Platform Owner(s)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BCC43E5-E199-47DC-B79D-48D25C641167}"/>
              </a:ext>
            </a:extLst>
          </p:cNvPr>
          <p:cNvGrpSpPr/>
          <p:nvPr/>
        </p:nvGrpSpPr>
        <p:grpSpPr>
          <a:xfrm>
            <a:off x="2501354" y="2399245"/>
            <a:ext cx="1372072" cy="369332"/>
            <a:chOff x="2585325" y="2399245"/>
            <a:chExt cx="1372072" cy="369332"/>
          </a:xfrm>
        </p:grpSpPr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45AB6970-E620-4157-803B-401D4CACCF7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85325" y="2432801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A8B790A-8537-4D50-8BF2-2CFEFE80DFFB}"/>
                </a:ext>
              </a:extLst>
            </p:cNvPr>
            <p:cNvSpPr txBox="1"/>
            <p:nvPr/>
          </p:nvSpPr>
          <p:spPr>
            <a:xfrm>
              <a:off x="2949216" y="2399245"/>
              <a:ext cx="1008181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</a:rPr>
                <a:t>Business Stakeholder(s)</a:t>
              </a:r>
            </a:p>
          </p:txBody>
        </p:sp>
      </p:grpSp>
      <p:sp>
        <p:nvSpPr>
          <p:cNvPr id="78" name="Freeform 54">
            <a:extLst>
              <a:ext uri="{FF2B5EF4-FFF2-40B4-BE49-F238E27FC236}">
                <a16:creationId xmlns:a16="http://schemas.microsoft.com/office/drawing/2014/main" id="{C0D11979-21AC-453D-B60D-66310722EE4C}"/>
              </a:ext>
            </a:extLst>
          </p:cNvPr>
          <p:cNvSpPr>
            <a:spLocks noChangeAspect="1"/>
          </p:cNvSpPr>
          <p:nvPr/>
        </p:nvSpPr>
        <p:spPr bwMode="auto">
          <a:xfrm>
            <a:off x="4052228" y="2432801"/>
            <a:ext cx="314011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5BD471-A959-414A-9974-4F40DC4CC7B1}"/>
              </a:ext>
            </a:extLst>
          </p:cNvPr>
          <p:cNvSpPr txBox="1"/>
          <p:nvPr/>
        </p:nvSpPr>
        <p:spPr>
          <a:xfrm>
            <a:off x="4416118" y="2399245"/>
            <a:ext cx="103068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Technology Stakeholder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EB9AF1F-354C-4DD9-A571-CC003856B18D}"/>
              </a:ext>
            </a:extLst>
          </p:cNvPr>
          <p:cNvGrpSpPr/>
          <p:nvPr/>
        </p:nvGrpSpPr>
        <p:grpSpPr>
          <a:xfrm>
            <a:off x="5517862" y="2399245"/>
            <a:ext cx="1146243" cy="369332"/>
            <a:chOff x="5517862" y="2399245"/>
            <a:chExt cx="1146243" cy="369332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4E8CCA3-87C7-4972-98F5-8A6D3529E711}"/>
                </a:ext>
              </a:extLst>
            </p:cNvPr>
            <p:cNvSpPr txBox="1"/>
            <p:nvPr/>
          </p:nvSpPr>
          <p:spPr>
            <a:xfrm>
              <a:off x="5881657" y="2399245"/>
              <a:ext cx="78244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</a:rPr>
                <a:t>Platform Architect(s)</a:t>
              </a:r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BC05A404-8A4E-4CED-9187-E8C2D840C0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17862" y="2432801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</p:grpSp>
      <p:sp>
        <p:nvSpPr>
          <p:cNvPr id="87" name="Rounded Rectangle 9">
            <a:extLst>
              <a:ext uri="{FF2B5EF4-FFF2-40B4-BE49-F238E27FC236}">
                <a16:creationId xmlns:a16="http://schemas.microsoft.com/office/drawing/2014/main" id="{012D9FEC-7F0E-4F17-A910-32D8AB4CE6DC}"/>
              </a:ext>
            </a:extLst>
          </p:cNvPr>
          <p:cNvSpPr/>
          <p:nvPr/>
        </p:nvSpPr>
        <p:spPr>
          <a:xfrm>
            <a:off x="9030281" y="1568048"/>
            <a:ext cx="2817285" cy="4465004"/>
          </a:xfrm>
          <a:prstGeom prst="roundRect">
            <a:avLst>
              <a:gd name="adj" fmla="val 7006"/>
            </a:avLst>
          </a:prstGeom>
          <a:solidFill>
            <a:schemeClr val="accent6"/>
          </a:solidFill>
          <a:ln w="6350">
            <a:noFill/>
          </a:ln>
          <a:effectLst/>
        </p:spPr>
        <p:txBody>
          <a:bodyPr lIns="36000" tIns="36000" rIns="36000" bIns="36000" anchor="t"/>
          <a:lstStyle/>
          <a:p>
            <a:pPr algn="ctr" fontAlgn="base">
              <a:spcBef>
                <a:spcPct val="0"/>
              </a:spcBef>
              <a:defRPr/>
            </a:pPr>
            <a:r>
              <a:rPr lang="en-GB" sz="1400" b="1" kern="0">
                <a:solidFill>
                  <a:prstClr val="white"/>
                </a:solidFill>
                <a:latin typeface="Arial"/>
              </a:rPr>
              <a:t>CVSH Businesses &amp; Functions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  <a:defRPr/>
            </a:pPr>
            <a:endParaRPr lang="en-GB" sz="1100" kern="0">
              <a:solidFill>
                <a:prstClr val="white"/>
              </a:solidFill>
              <a:latin typeface="Arial"/>
            </a:endParaRPr>
          </a:p>
          <a:p>
            <a:pPr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100" kern="0">
                <a:solidFill>
                  <a:prstClr val="white"/>
                </a:solidFill>
                <a:latin typeface="Arial"/>
              </a:rPr>
              <a:t>Lines of Business are the platform’s customers and tenants with IT maintaining the responsibility for building specific platform capabilities and features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2FC1CE1-6F74-4B57-86D7-4D681E43F7B3}"/>
              </a:ext>
            </a:extLst>
          </p:cNvPr>
          <p:cNvGrpSpPr/>
          <p:nvPr/>
        </p:nvGrpSpPr>
        <p:grpSpPr>
          <a:xfrm>
            <a:off x="9354764" y="4942447"/>
            <a:ext cx="2035213" cy="302221"/>
            <a:chOff x="9328736" y="4672197"/>
            <a:chExt cx="2035213" cy="302221"/>
          </a:xfrm>
        </p:grpSpPr>
        <p:sp>
          <p:nvSpPr>
            <p:cNvPr id="95" name="Freeform 54">
              <a:extLst>
                <a:ext uri="{FF2B5EF4-FFF2-40B4-BE49-F238E27FC236}">
                  <a16:creationId xmlns:a16="http://schemas.microsoft.com/office/drawing/2014/main" id="{EC6E971F-ABF5-43FB-BF7F-71D7CD4E43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28736" y="4672197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2EDB64A-2289-45C9-B58A-09E7B341557E}"/>
                </a:ext>
              </a:extLst>
            </p:cNvPr>
            <p:cNvSpPr txBox="1"/>
            <p:nvPr/>
          </p:nvSpPr>
          <p:spPr>
            <a:xfrm>
              <a:off x="9721198" y="4730974"/>
              <a:ext cx="164275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</a:rPr>
                <a:t>Tenant Association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2E40D22-1198-4B6E-A50A-4B0E2CCC12A4}"/>
              </a:ext>
            </a:extLst>
          </p:cNvPr>
          <p:cNvGrpSpPr/>
          <p:nvPr/>
        </p:nvGrpSpPr>
        <p:grpSpPr>
          <a:xfrm>
            <a:off x="9354764" y="5284221"/>
            <a:ext cx="2139431" cy="302221"/>
            <a:chOff x="9328736" y="5081031"/>
            <a:chExt cx="2139431" cy="302221"/>
          </a:xfrm>
        </p:grpSpPr>
        <p:sp>
          <p:nvSpPr>
            <p:cNvPr id="98" name="Freeform 54">
              <a:extLst>
                <a:ext uri="{FF2B5EF4-FFF2-40B4-BE49-F238E27FC236}">
                  <a16:creationId xmlns:a16="http://schemas.microsoft.com/office/drawing/2014/main" id="{F4C35635-93D7-4372-B425-D0A18E7359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28736" y="5081031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FCBC9E1-64D3-48BA-9B0B-A77443840CCD}"/>
                </a:ext>
              </a:extLst>
            </p:cNvPr>
            <p:cNvSpPr txBox="1"/>
            <p:nvPr/>
          </p:nvSpPr>
          <p:spPr>
            <a:xfrm>
              <a:off x="9721198" y="5124397"/>
              <a:ext cx="174696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</a:rPr>
                <a:t>Platform Delivery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B05A4B59-153A-4263-9522-562DF53FD442}"/>
              </a:ext>
            </a:extLst>
          </p:cNvPr>
          <p:cNvGrpSpPr/>
          <p:nvPr/>
        </p:nvGrpSpPr>
        <p:grpSpPr>
          <a:xfrm>
            <a:off x="9354764" y="5635216"/>
            <a:ext cx="2024603" cy="302221"/>
            <a:chOff x="5521202" y="4972995"/>
            <a:chExt cx="2024603" cy="30222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2375B40-6224-4554-A34B-7A9C25F198CD}"/>
                </a:ext>
              </a:extLst>
            </p:cNvPr>
            <p:cNvSpPr txBox="1"/>
            <p:nvPr/>
          </p:nvSpPr>
          <p:spPr>
            <a:xfrm>
              <a:off x="5895975" y="5016383"/>
              <a:ext cx="164983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</a:rPr>
                <a:t>Solution Architect(s)</a:t>
              </a:r>
            </a:p>
          </p:txBody>
        </p:sp>
        <p:sp>
          <p:nvSpPr>
            <p:cNvPr id="106" name="Freeform 54">
              <a:extLst>
                <a:ext uri="{FF2B5EF4-FFF2-40B4-BE49-F238E27FC236}">
                  <a16:creationId xmlns:a16="http://schemas.microsoft.com/office/drawing/2014/main" id="{85FC98BC-8BD3-476D-A09E-FDF585E656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21202" y="4972995"/>
              <a:ext cx="314011" cy="302221"/>
            </a:xfrm>
            <a:custGeom>
              <a:avLst/>
              <a:gdLst>
                <a:gd name="T0" fmla="*/ 109 w 139"/>
                <a:gd name="T1" fmla="*/ 99 h 133"/>
                <a:gd name="T2" fmla="*/ 85 w 139"/>
                <a:gd name="T3" fmla="*/ 75 h 133"/>
                <a:gd name="T4" fmla="*/ 93 w 139"/>
                <a:gd name="T5" fmla="*/ 57 h 133"/>
                <a:gd name="T6" fmla="*/ 100 w 139"/>
                <a:gd name="T7" fmla="*/ 45 h 133"/>
                <a:gd name="T8" fmla="*/ 97 w 139"/>
                <a:gd name="T9" fmla="*/ 39 h 133"/>
                <a:gd name="T10" fmla="*/ 99 w 139"/>
                <a:gd name="T11" fmla="*/ 26 h 133"/>
                <a:gd name="T12" fmla="*/ 70 w 139"/>
                <a:gd name="T13" fmla="*/ 0 h 133"/>
                <a:gd name="T14" fmla="*/ 40 w 139"/>
                <a:gd name="T15" fmla="*/ 26 h 133"/>
                <a:gd name="T16" fmla="*/ 42 w 139"/>
                <a:gd name="T17" fmla="*/ 39 h 133"/>
                <a:gd name="T18" fmla="*/ 39 w 139"/>
                <a:gd name="T19" fmla="*/ 45 h 133"/>
                <a:gd name="T20" fmla="*/ 46 w 139"/>
                <a:gd name="T21" fmla="*/ 57 h 133"/>
                <a:gd name="T22" fmla="*/ 54 w 139"/>
                <a:gd name="T23" fmla="*/ 75 h 133"/>
                <a:gd name="T24" fmla="*/ 30 w 139"/>
                <a:gd name="T25" fmla="*/ 99 h 133"/>
                <a:gd name="T26" fmla="*/ 0 w 139"/>
                <a:gd name="T27" fmla="*/ 118 h 133"/>
                <a:gd name="T28" fmla="*/ 0 w 139"/>
                <a:gd name="T29" fmla="*/ 133 h 133"/>
                <a:gd name="T30" fmla="*/ 70 w 139"/>
                <a:gd name="T31" fmla="*/ 133 h 133"/>
                <a:gd name="T32" fmla="*/ 139 w 139"/>
                <a:gd name="T33" fmla="*/ 133 h 133"/>
                <a:gd name="T34" fmla="*/ 139 w 139"/>
                <a:gd name="T35" fmla="*/ 118 h 133"/>
                <a:gd name="T36" fmla="*/ 109 w 139"/>
                <a:gd name="T37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133">
                  <a:moveTo>
                    <a:pt x="109" y="99"/>
                  </a:moveTo>
                  <a:cubicBezTo>
                    <a:pt x="91" y="93"/>
                    <a:pt x="85" y="87"/>
                    <a:pt x="85" y="75"/>
                  </a:cubicBezTo>
                  <a:cubicBezTo>
                    <a:pt x="85" y="68"/>
                    <a:pt x="90" y="70"/>
                    <a:pt x="93" y="57"/>
                  </a:cubicBezTo>
                  <a:cubicBezTo>
                    <a:pt x="94" y="52"/>
                    <a:pt x="99" y="57"/>
                    <a:pt x="100" y="45"/>
                  </a:cubicBezTo>
                  <a:cubicBezTo>
                    <a:pt x="100" y="40"/>
                    <a:pt x="97" y="39"/>
                    <a:pt x="97" y="39"/>
                  </a:cubicBezTo>
                  <a:cubicBezTo>
                    <a:pt x="97" y="39"/>
                    <a:pt x="98" y="31"/>
                    <a:pt x="99" y="26"/>
                  </a:cubicBezTo>
                  <a:cubicBezTo>
                    <a:pt x="100" y="19"/>
                    <a:pt x="95" y="0"/>
                    <a:pt x="70" y="0"/>
                  </a:cubicBezTo>
                  <a:cubicBezTo>
                    <a:pt x="44" y="0"/>
                    <a:pt x="40" y="19"/>
                    <a:pt x="40" y="26"/>
                  </a:cubicBezTo>
                  <a:cubicBezTo>
                    <a:pt x="41" y="31"/>
                    <a:pt x="42" y="39"/>
                    <a:pt x="42" y="39"/>
                  </a:cubicBezTo>
                  <a:cubicBezTo>
                    <a:pt x="42" y="39"/>
                    <a:pt x="39" y="40"/>
                    <a:pt x="39" y="45"/>
                  </a:cubicBezTo>
                  <a:cubicBezTo>
                    <a:pt x="40" y="57"/>
                    <a:pt x="45" y="52"/>
                    <a:pt x="46" y="57"/>
                  </a:cubicBezTo>
                  <a:cubicBezTo>
                    <a:pt x="49" y="70"/>
                    <a:pt x="54" y="68"/>
                    <a:pt x="54" y="75"/>
                  </a:cubicBezTo>
                  <a:cubicBezTo>
                    <a:pt x="54" y="87"/>
                    <a:pt x="48" y="93"/>
                    <a:pt x="30" y="99"/>
                  </a:cubicBezTo>
                  <a:cubicBezTo>
                    <a:pt x="12" y="106"/>
                    <a:pt x="0" y="113"/>
                    <a:pt x="0" y="118"/>
                  </a:cubicBezTo>
                  <a:cubicBezTo>
                    <a:pt x="0" y="122"/>
                    <a:pt x="0" y="133"/>
                    <a:pt x="0" y="133"/>
                  </a:cubicBezTo>
                  <a:cubicBezTo>
                    <a:pt x="70" y="133"/>
                    <a:pt x="70" y="133"/>
                    <a:pt x="70" y="133"/>
                  </a:cubicBezTo>
                  <a:cubicBezTo>
                    <a:pt x="139" y="133"/>
                    <a:pt x="139" y="133"/>
                    <a:pt x="139" y="133"/>
                  </a:cubicBezTo>
                  <a:cubicBezTo>
                    <a:pt x="139" y="133"/>
                    <a:pt x="139" y="122"/>
                    <a:pt x="139" y="118"/>
                  </a:cubicBezTo>
                  <a:cubicBezTo>
                    <a:pt x="139" y="113"/>
                    <a:pt x="127" y="106"/>
                    <a:pt x="109" y="99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103">
                <a:defRPr/>
              </a:pPr>
              <a:endParaRPr lang="en-US" sz="1600">
                <a:solidFill>
                  <a:srgbClr val="5E5E5E"/>
                </a:solidFill>
                <a:latin typeface="Arial"/>
                <a:cs typeface="Calibri"/>
                <a:sym typeface="Calibri"/>
              </a:endParaRPr>
            </a:p>
          </p:txBody>
        </p:sp>
      </p:grp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1969450F-0CC0-4C78-86F3-4C5AE1C25DE6}"/>
              </a:ext>
            </a:extLst>
          </p:cNvPr>
          <p:cNvSpPr/>
          <p:nvPr/>
        </p:nvSpPr>
        <p:spPr bwMode="gray">
          <a:xfrm>
            <a:off x="9236120" y="2861550"/>
            <a:ext cx="2405606" cy="2858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>
                <a:solidFill>
                  <a:srgbClr val="646464"/>
                </a:solidFill>
                <a:latin typeface="Arial"/>
              </a:rPr>
              <a:t>Healthcare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54FB8AA0-6091-40F9-B9C3-F15E287AAF25}"/>
              </a:ext>
            </a:extLst>
          </p:cNvPr>
          <p:cNvSpPr/>
          <p:nvPr/>
        </p:nvSpPr>
        <p:spPr bwMode="gray">
          <a:xfrm>
            <a:off x="9236120" y="3207116"/>
            <a:ext cx="2405606" cy="2815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rgbClr val="646464"/>
                </a:solidFill>
                <a:latin typeface="Arial"/>
              </a:rPr>
              <a:t>PBM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BCDC4405-0AFD-45DC-B0CB-A2703369EDD3}"/>
              </a:ext>
            </a:extLst>
          </p:cNvPr>
          <p:cNvSpPr/>
          <p:nvPr/>
        </p:nvSpPr>
        <p:spPr bwMode="gray">
          <a:xfrm>
            <a:off x="9236120" y="3548391"/>
            <a:ext cx="2405606" cy="27412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rgbClr val="646464"/>
                </a:solidFill>
                <a:latin typeface="Arial"/>
              </a:rPr>
              <a:t>Retail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6D399074-E38F-42C1-9640-F3ABB1259268}"/>
              </a:ext>
            </a:extLst>
          </p:cNvPr>
          <p:cNvSpPr/>
          <p:nvPr/>
        </p:nvSpPr>
        <p:spPr bwMode="gray">
          <a:xfrm>
            <a:off x="9236120" y="4573392"/>
            <a:ext cx="2405606" cy="27412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rgbClr val="646464"/>
                </a:solidFill>
                <a:latin typeface="Arial"/>
              </a:rPr>
              <a:t>Digital / Analytics / Data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2DBEFE21-3CF9-47C4-A443-6109292554AB}"/>
              </a:ext>
            </a:extLst>
          </p:cNvPr>
          <p:cNvSpPr/>
          <p:nvPr/>
        </p:nvSpPr>
        <p:spPr bwMode="gray">
          <a:xfrm>
            <a:off x="9236120" y="3882262"/>
            <a:ext cx="2405606" cy="28581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>
                <a:solidFill>
                  <a:srgbClr val="646464"/>
                </a:solidFill>
                <a:latin typeface="Arial"/>
              </a:rPr>
              <a:t>Transformation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B120635C-26C2-405D-AB81-23178C65E0E1}"/>
              </a:ext>
            </a:extLst>
          </p:cNvPr>
          <p:cNvSpPr/>
          <p:nvPr/>
        </p:nvSpPr>
        <p:spPr bwMode="gray">
          <a:xfrm>
            <a:off x="9236120" y="4227828"/>
            <a:ext cx="2405606" cy="28581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>
                <a:solidFill>
                  <a:srgbClr val="646464"/>
                </a:solidFill>
                <a:latin typeface="Arial"/>
              </a:rPr>
              <a:t>Modernization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ABA6EF0D-2E83-4354-A1C6-77E94D68C576}"/>
              </a:ext>
            </a:extLst>
          </p:cNvPr>
          <p:cNvSpPr/>
          <p:nvPr/>
        </p:nvSpPr>
        <p:spPr bwMode="gray">
          <a:xfrm>
            <a:off x="2967374" y="3945833"/>
            <a:ext cx="1962009" cy="19440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 b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43" name="Freeform 54">
            <a:extLst>
              <a:ext uri="{FF2B5EF4-FFF2-40B4-BE49-F238E27FC236}">
                <a16:creationId xmlns:a16="http://schemas.microsoft.com/office/drawing/2014/main" id="{9001126C-A544-4CE5-A695-E727EDE310E6}"/>
              </a:ext>
            </a:extLst>
          </p:cNvPr>
          <p:cNvSpPr>
            <a:spLocks noChangeAspect="1"/>
          </p:cNvSpPr>
          <p:nvPr/>
        </p:nvSpPr>
        <p:spPr bwMode="auto">
          <a:xfrm>
            <a:off x="2983899" y="4144641"/>
            <a:ext cx="313388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64B76BA-DD33-46E1-BEBF-3D7FF7A63161}"/>
              </a:ext>
            </a:extLst>
          </p:cNvPr>
          <p:cNvSpPr txBox="1"/>
          <p:nvPr/>
        </p:nvSpPr>
        <p:spPr>
          <a:xfrm>
            <a:off x="3244555" y="4203417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Capability Owner(s)</a:t>
            </a:r>
          </a:p>
        </p:txBody>
      </p:sp>
      <p:sp>
        <p:nvSpPr>
          <p:cNvPr id="145" name="Freeform 54">
            <a:extLst>
              <a:ext uri="{FF2B5EF4-FFF2-40B4-BE49-F238E27FC236}">
                <a16:creationId xmlns:a16="http://schemas.microsoft.com/office/drawing/2014/main" id="{42228EAA-1BF5-458A-A38E-1BAC2890E776}"/>
              </a:ext>
            </a:extLst>
          </p:cNvPr>
          <p:cNvSpPr>
            <a:spLocks noChangeAspect="1"/>
          </p:cNvSpPr>
          <p:nvPr/>
        </p:nvSpPr>
        <p:spPr bwMode="auto">
          <a:xfrm>
            <a:off x="2983899" y="4481094"/>
            <a:ext cx="313388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015D314C-757F-4896-A5B1-B320E5893E5F}"/>
              </a:ext>
            </a:extLst>
          </p:cNvPr>
          <p:cNvSpPr txBox="1"/>
          <p:nvPr/>
        </p:nvSpPr>
        <p:spPr>
          <a:xfrm>
            <a:off x="3244555" y="4539870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Business Stakeholders</a:t>
            </a:r>
          </a:p>
        </p:txBody>
      </p:sp>
      <p:sp>
        <p:nvSpPr>
          <p:cNvPr id="147" name="Freeform 54">
            <a:extLst>
              <a:ext uri="{FF2B5EF4-FFF2-40B4-BE49-F238E27FC236}">
                <a16:creationId xmlns:a16="http://schemas.microsoft.com/office/drawing/2014/main" id="{6CB13696-6A53-4433-8BEB-FB55821CA791}"/>
              </a:ext>
            </a:extLst>
          </p:cNvPr>
          <p:cNvSpPr>
            <a:spLocks noChangeAspect="1"/>
          </p:cNvSpPr>
          <p:nvPr/>
        </p:nvSpPr>
        <p:spPr bwMode="auto">
          <a:xfrm>
            <a:off x="2983900" y="4817547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DE5EC3D-DFA2-4DCD-A206-55FDF8F3744F}"/>
              </a:ext>
            </a:extLst>
          </p:cNvPr>
          <p:cNvSpPr txBox="1"/>
          <p:nvPr/>
        </p:nvSpPr>
        <p:spPr>
          <a:xfrm>
            <a:off x="3244555" y="4885914"/>
            <a:ext cx="17253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Technology Stakeholders 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A33C845F-3959-439B-8907-20BD52BBA14C}"/>
              </a:ext>
            </a:extLst>
          </p:cNvPr>
          <p:cNvSpPr txBox="1"/>
          <p:nvPr/>
        </p:nvSpPr>
        <p:spPr>
          <a:xfrm>
            <a:off x="3243189" y="3979627"/>
            <a:ext cx="169494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9E0000"/>
                </a:solidFill>
                <a:latin typeface="Arial"/>
              </a:rPr>
              <a:t>Capability Council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64ADC667-B4BE-4144-9854-0529EB5442C2}"/>
              </a:ext>
            </a:extLst>
          </p:cNvPr>
          <p:cNvSpPr txBox="1"/>
          <p:nvPr/>
        </p:nvSpPr>
        <p:spPr>
          <a:xfrm>
            <a:off x="3244555" y="5212776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Platform Architect(s)</a:t>
            </a:r>
          </a:p>
        </p:txBody>
      </p:sp>
      <p:sp>
        <p:nvSpPr>
          <p:cNvPr id="151" name="Freeform 54">
            <a:extLst>
              <a:ext uri="{FF2B5EF4-FFF2-40B4-BE49-F238E27FC236}">
                <a16:creationId xmlns:a16="http://schemas.microsoft.com/office/drawing/2014/main" id="{6BC8B2F2-9CA2-4003-8A1C-315D8E431C26}"/>
              </a:ext>
            </a:extLst>
          </p:cNvPr>
          <p:cNvSpPr>
            <a:spLocks noChangeAspect="1"/>
          </p:cNvSpPr>
          <p:nvPr/>
        </p:nvSpPr>
        <p:spPr bwMode="auto">
          <a:xfrm>
            <a:off x="2983900" y="5154000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1DD4E741-0F3E-4AFE-AAA5-C74D64680800}"/>
              </a:ext>
            </a:extLst>
          </p:cNvPr>
          <p:cNvSpPr txBox="1"/>
          <p:nvPr/>
        </p:nvSpPr>
        <p:spPr>
          <a:xfrm>
            <a:off x="3244555" y="5549228"/>
            <a:ext cx="15583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Platform PMO</a:t>
            </a:r>
          </a:p>
        </p:txBody>
      </p:sp>
      <p:sp>
        <p:nvSpPr>
          <p:cNvPr id="153" name="Freeform 54">
            <a:extLst>
              <a:ext uri="{FF2B5EF4-FFF2-40B4-BE49-F238E27FC236}">
                <a16:creationId xmlns:a16="http://schemas.microsoft.com/office/drawing/2014/main" id="{18CF4FAA-543C-427D-8614-75447B19F9E2}"/>
              </a:ext>
            </a:extLst>
          </p:cNvPr>
          <p:cNvSpPr>
            <a:spLocks noChangeAspect="1"/>
          </p:cNvSpPr>
          <p:nvPr/>
        </p:nvSpPr>
        <p:spPr bwMode="auto">
          <a:xfrm>
            <a:off x="2983900" y="5490452"/>
            <a:ext cx="313389" cy="302221"/>
          </a:xfrm>
          <a:custGeom>
            <a:avLst/>
            <a:gdLst>
              <a:gd name="T0" fmla="*/ 109 w 139"/>
              <a:gd name="T1" fmla="*/ 99 h 133"/>
              <a:gd name="T2" fmla="*/ 85 w 139"/>
              <a:gd name="T3" fmla="*/ 75 h 133"/>
              <a:gd name="T4" fmla="*/ 93 w 139"/>
              <a:gd name="T5" fmla="*/ 57 h 133"/>
              <a:gd name="T6" fmla="*/ 100 w 139"/>
              <a:gd name="T7" fmla="*/ 45 h 133"/>
              <a:gd name="T8" fmla="*/ 97 w 139"/>
              <a:gd name="T9" fmla="*/ 39 h 133"/>
              <a:gd name="T10" fmla="*/ 99 w 139"/>
              <a:gd name="T11" fmla="*/ 26 h 133"/>
              <a:gd name="T12" fmla="*/ 70 w 139"/>
              <a:gd name="T13" fmla="*/ 0 h 133"/>
              <a:gd name="T14" fmla="*/ 40 w 139"/>
              <a:gd name="T15" fmla="*/ 26 h 133"/>
              <a:gd name="T16" fmla="*/ 42 w 139"/>
              <a:gd name="T17" fmla="*/ 39 h 133"/>
              <a:gd name="T18" fmla="*/ 39 w 139"/>
              <a:gd name="T19" fmla="*/ 45 h 133"/>
              <a:gd name="T20" fmla="*/ 46 w 139"/>
              <a:gd name="T21" fmla="*/ 57 h 133"/>
              <a:gd name="T22" fmla="*/ 54 w 139"/>
              <a:gd name="T23" fmla="*/ 75 h 133"/>
              <a:gd name="T24" fmla="*/ 30 w 139"/>
              <a:gd name="T25" fmla="*/ 99 h 133"/>
              <a:gd name="T26" fmla="*/ 0 w 139"/>
              <a:gd name="T27" fmla="*/ 118 h 133"/>
              <a:gd name="T28" fmla="*/ 0 w 139"/>
              <a:gd name="T29" fmla="*/ 133 h 133"/>
              <a:gd name="T30" fmla="*/ 70 w 139"/>
              <a:gd name="T31" fmla="*/ 133 h 133"/>
              <a:gd name="T32" fmla="*/ 139 w 139"/>
              <a:gd name="T33" fmla="*/ 133 h 133"/>
              <a:gd name="T34" fmla="*/ 139 w 139"/>
              <a:gd name="T35" fmla="*/ 118 h 133"/>
              <a:gd name="T36" fmla="*/ 109 w 139"/>
              <a:gd name="T37" fmla="*/ 9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9" h="133">
                <a:moveTo>
                  <a:pt x="109" y="99"/>
                </a:moveTo>
                <a:cubicBezTo>
                  <a:pt x="91" y="93"/>
                  <a:pt x="85" y="87"/>
                  <a:pt x="85" y="75"/>
                </a:cubicBezTo>
                <a:cubicBezTo>
                  <a:pt x="85" y="68"/>
                  <a:pt x="90" y="70"/>
                  <a:pt x="93" y="57"/>
                </a:cubicBezTo>
                <a:cubicBezTo>
                  <a:pt x="94" y="52"/>
                  <a:pt x="99" y="57"/>
                  <a:pt x="100" y="45"/>
                </a:cubicBezTo>
                <a:cubicBezTo>
                  <a:pt x="100" y="40"/>
                  <a:pt x="97" y="39"/>
                  <a:pt x="97" y="39"/>
                </a:cubicBezTo>
                <a:cubicBezTo>
                  <a:pt x="97" y="39"/>
                  <a:pt x="98" y="31"/>
                  <a:pt x="99" y="26"/>
                </a:cubicBezTo>
                <a:cubicBezTo>
                  <a:pt x="100" y="19"/>
                  <a:pt x="95" y="0"/>
                  <a:pt x="70" y="0"/>
                </a:cubicBezTo>
                <a:cubicBezTo>
                  <a:pt x="44" y="0"/>
                  <a:pt x="40" y="19"/>
                  <a:pt x="40" y="26"/>
                </a:cubicBezTo>
                <a:cubicBezTo>
                  <a:pt x="41" y="31"/>
                  <a:pt x="42" y="39"/>
                  <a:pt x="42" y="39"/>
                </a:cubicBezTo>
                <a:cubicBezTo>
                  <a:pt x="42" y="39"/>
                  <a:pt x="39" y="40"/>
                  <a:pt x="39" y="45"/>
                </a:cubicBezTo>
                <a:cubicBezTo>
                  <a:pt x="40" y="57"/>
                  <a:pt x="45" y="52"/>
                  <a:pt x="46" y="57"/>
                </a:cubicBezTo>
                <a:cubicBezTo>
                  <a:pt x="49" y="70"/>
                  <a:pt x="54" y="68"/>
                  <a:pt x="54" y="75"/>
                </a:cubicBezTo>
                <a:cubicBezTo>
                  <a:pt x="54" y="87"/>
                  <a:pt x="48" y="93"/>
                  <a:pt x="30" y="99"/>
                </a:cubicBezTo>
                <a:cubicBezTo>
                  <a:pt x="12" y="106"/>
                  <a:pt x="0" y="113"/>
                  <a:pt x="0" y="118"/>
                </a:cubicBezTo>
                <a:cubicBezTo>
                  <a:pt x="0" y="122"/>
                  <a:pt x="0" y="133"/>
                  <a:pt x="0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139" y="133"/>
                  <a:pt x="139" y="133"/>
                  <a:pt x="139" y="133"/>
                </a:cubicBezTo>
                <a:cubicBezTo>
                  <a:pt x="139" y="133"/>
                  <a:pt x="139" y="122"/>
                  <a:pt x="139" y="118"/>
                </a:cubicBezTo>
                <a:cubicBezTo>
                  <a:pt x="139" y="113"/>
                  <a:pt x="127" y="106"/>
                  <a:pt x="109" y="9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03">
              <a:defRPr/>
            </a:pPr>
            <a:endParaRPr lang="en-US" sz="1600">
              <a:solidFill>
                <a:srgbClr val="5E5E5E"/>
              </a:solidFill>
              <a:latin typeface="Arial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84779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BAE31-4145-4E52-A052-26E81FEB5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671220"/>
          </a:xfrm>
        </p:spPr>
        <p:txBody>
          <a:bodyPr/>
          <a:lstStyle/>
          <a:p>
            <a:r>
              <a:rPr lang="en-US" sz="2400">
                <a:solidFill>
                  <a:schemeClr val="tx1"/>
                </a:solidFill>
              </a:rPr>
              <a:t>The platform operating model will ensure that we deliver functionality</a:t>
            </a:r>
            <a:br>
              <a:rPr lang="en-US" sz="2400">
                <a:solidFill>
                  <a:schemeClr val="tx1"/>
                </a:solidFill>
              </a:rPr>
            </a:br>
            <a:r>
              <a:rPr lang="en-US" sz="1600" b="0">
                <a:solidFill>
                  <a:schemeClr val="tx1"/>
                </a:solidFill>
              </a:rPr>
              <a:t>that Business Units need to achieve BU objectives and Transformation priorit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AC0FA1-D331-8E48-B4FA-CFC3FBEBBDD2}"/>
              </a:ext>
            </a:extLst>
          </p:cNvPr>
          <p:cNvSpPr/>
          <p:nvPr/>
        </p:nvSpPr>
        <p:spPr>
          <a:xfrm>
            <a:off x="770691" y="3220493"/>
            <a:ext cx="3368171" cy="3164305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 b="1">
                <a:solidFill>
                  <a:schemeClr val="tx1">
                    <a:lumMod val="75000"/>
                    <a:lumOff val="25000"/>
                  </a:schemeClr>
                </a:solidFill>
              </a:rPr>
              <a:t>Platform Product Council</a:t>
            </a:r>
          </a:p>
          <a:p>
            <a:pPr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Platform Product Council will collectively own the overall product roadmap, deliverables and financials for a given platform. This group will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Establish the strategic product roadmap for all features and functions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Gather and prioritize all business needs for the platform and update the product roadmap 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Budget and manage investment to ensure the roadmap is realized and measure return on investment, to ensure that the roadmap is properly prioritized for value generation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Oversee the planning and execution of work, to ensure timely and expected delivery of platform functionality</a:t>
            </a:r>
          </a:p>
          <a:p>
            <a:pPr marL="171450" indent="-171450" defTabSz="45706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n-US" sz="11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7951C7-19D9-314A-A92F-DDEF9B5F72BD}"/>
              </a:ext>
            </a:extLst>
          </p:cNvPr>
          <p:cNvSpPr/>
          <p:nvPr/>
        </p:nvSpPr>
        <p:spPr>
          <a:xfrm>
            <a:off x="4411914" y="3220493"/>
            <a:ext cx="3368171" cy="3164305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 b="1">
                <a:solidFill>
                  <a:schemeClr val="tx1">
                    <a:lumMod val="75000"/>
                    <a:lumOff val="25000"/>
                  </a:schemeClr>
                </a:solidFill>
              </a:rPr>
              <a:t>Enterprise Architecture</a:t>
            </a:r>
          </a:p>
          <a:p>
            <a:pPr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Enterprise Architect role will establish and lead the strategic product technical architecture, in partnership with the Technology Delivery team by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Ensuring the platform leverages enterprise standards and best-practices, including security and other non-functional aspects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Driving strategic choices that maximize technology synergy across the enterprise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Performing technology evaluations and input to the Technology Delivery team on innovative approaches to achieve capabilities and need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587D80-B237-1546-AB2C-94114E799AEE}"/>
              </a:ext>
            </a:extLst>
          </p:cNvPr>
          <p:cNvSpPr/>
          <p:nvPr/>
        </p:nvSpPr>
        <p:spPr>
          <a:xfrm>
            <a:off x="8053138" y="3220493"/>
            <a:ext cx="3368171" cy="3164305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 b="1">
                <a:solidFill>
                  <a:schemeClr val="tx1">
                    <a:lumMod val="75000"/>
                    <a:lumOff val="25000"/>
                  </a:schemeClr>
                </a:solidFill>
              </a:rPr>
              <a:t>Technology Delivery Team</a:t>
            </a:r>
          </a:p>
          <a:p>
            <a:pPr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Technology Delivery Team delivers platform capabilities and functionality by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Partnering with the Platform Product Council to prioritize the product roadmap and program increments for delivery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Partnering with Enterprise Architecture to design and implement strategic technology choices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Planning and managing the delivery of work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Developing, testing and managing roll-out of functionality</a:t>
            </a:r>
          </a:p>
          <a:p>
            <a:pPr marL="171450" indent="-171450" defTabSz="457063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Maintaining and supporting the ongoing operations of the technology platfor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16CF7A-B71F-9E4E-A53A-AAA3E23CDD92}"/>
              </a:ext>
            </a:extLst>
          </p:cNvPr>
          <p:cNvSpPr/>
          <p:nvPr/>
        </p:nvSpPr>
        <p:spPr>
          <a:xfrm>
            <a:off x="770690" y="1999944"/>
            <a:ext cx="10650619" cy="782053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Platform Leader</a:t>
            </a:r>
          </a:p>
          <a:p>
            <a:pPr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Platform Leader will serve as the “leader among leaders” for a given platform, working with the other roles listed here to define strategy and capabilities and ensure successful execution and realization of business value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A97CAFA-DB9F-9E44-A25A-925FC31E9D49}"/>
              </a:ext>
            </a:extLst>
          </p:cNvPr>
          <p:cNvSpPr/>
          <p:nvPr/>
        </p:nvSpPr>
        <p:spPr>
          <a:xfrm>
            <a:off x="770690" y="1085541"/>
            <a:ext cx="10650619" cy="671221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Executive Sponsor</a:t>
            </a:r>
          </a:p>
          <a:p>
            <a:pPr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100">
                <a:solidFill>
                  <a:schemeClr val="tx1">
                    <a:lumMod val="75000"/>
                    <a:lumOff val="25000"/>
                  </a:schemeClr>
                </a:solidFill>
              </a:rPr>
              <a:t>The Executive Sponsor ensures that the platform work aligns with enterprise priorities and ensures effective platform leadership; supports funding and prioritization discussions at the BPC and EOC levels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D03494-F71B-2A41-82BF-2B2869BEC6EB}"/>
              </a:ext>
            </a:extLst>
          </p:cNvPr>
          <p:cNvCxnSpPr/>
          <p:nvPr/>
        </p:nvCxnSpPr>
        <p:spPr>
          <a:xfrm flipV="1">
            <a:off x="975230" y="2914347"/>
            <a:ext cx="10058400" cy="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09EED68-DF80-934F-9728-5F369DBFD299}"/>
              </a:ext>
            </a:extLst>
          </p:cNvPr>
          <p:cNvSpPr txBox="1"/>
          <p:nvPr/>
        </p:nvSpPr>
        <p:spPr>
          <a:xfrm>
            <a:off x="5920387" y="2786144"/>
            <a:ext cx="26289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</a:rPr>
              <a:t> +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A013976-BE4F-FF4F-820A-54E570671B4A}"/>
              </a:ext>
            </a:extLst>
          </p:cNvPr>
          <p:cNvCxnSpPr/>
          <p:nvPr/>
        </p:nvCxnSpPr>
        <p:spPr>
          <a:xfrm flipV="1">
            <a:off x="962531" y="1953882"/>
            <a:ext cx="10058400" cy="0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133C3DD-6189-E346-BF63-0ABCAEE3CC24}"/>
              </a:ext>
            </a:extLst>
          </p:cNvPr>
          <p:cNvSpPr txBox="1"/>
          <p:nvPr/>
        </p:nvSpPr>
        <p:spPr>
          <a:xfrm>
            <a:off x="5907688" y="1825679"/>
            <a:ext cx="262892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b="1">
                <a:solidFill>
                  <a:schemeClr val="tx1">
                    <a:lumMod val="75000"/>
                    <a:lumOff val="25000"/>
                  </a:schemeClr>
                </a:solidFill>
              </a:rPr>
              <a:t> +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5D09FD-12DD-4FDC-BED0-6CBAF1B2678D}"/>
              </a:ext>
            </a:extLst>
          </p:cNvPr>
          <p:cNvSpPr/>
          <p:nvPr/>
        </p:nvSpPr>
        <p:spPr>
          <a:xfrm>
            <a:off x="770690" y="2914347"/>
            <a:ext cx="10650619" cy="671221"/>
          </a:xfrm>
          <a:prstGeom prst="rect">
            <a:avLst/>
          </a:prstGeom>
          <a:noFill/>
          <a:ln>
            <a:noFill/>
          </a:ln>
        </p:spPr>
        <p:txBody>
          <a:bodyPr wrap="square" lIns="137160" tIns="91440" rIns="137160" bIns="91440">
            <a:noAutofit/>
          </a:bodyPr>
          <a:lstStyle/>
          <a:p>
            <a:pPr algn="ctr" defTabSz="457063">
              <a:spcBef>
                <a:spcPts val="600"/>
              </a:spcBef>
              <a:buClr>
                <a:schemeClr val="accent2"/>
              </a:buClr>
              <a:defRPr/>
            </a:pPr>
            <a:r>
              <a:rPr lang="en-US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Platform Product Roles</a:t>
            </a:r>
          </a:p>
        </p:txBody>
      </p:sp>
    </p:spTree>
    <p:extLst>
      <p:ext uri="{BB962C8B-B14F-4D97-AF65-F5344CB8AC3E}">
        <p14:creationId xmlns:p14="http://schemas.microsoft.com/office/powerpoint/2010/main" val="37913967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Opportun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/>
          <a:lstStyle/>
          <a:p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mely access to strategic </a:t>
            </a:r>
            <a:r>
              <a:rPr lang="en-US" sz="2000"/>
              <a:t>integrated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is a major opportunity for CVS Health to improve our customers’ health care journey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1016" y="2700355"/>
            <a:ext cx="5970300" cy="2815105"/>
          </a:xfrm>
          <a:prstGeom prst="rect">
            <a:avLst/>
          </a:prstGeom>
          <a:solidFill>
            <a:schemeClr val="bg1"/>
          </a:solidFill>
        </p:spPr>
        <p:txBody>
          <a:bodyPr wrap="square" lIns="182832" tIns="0" rIns="182832" bIns="0" rtlCol="0" anchor="ctr">
            <a:noAutofit/>
          </a:bodyPr>
          <a:lstStyle/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uplicate data is found on the platform due to disparate data ingestion processes and limited governance.  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ata Platform needs a centralized catalog describing what data is available to the business. 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Expedite delivery of data to meet business needs. 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Upgrades to the infrastructure are expensive and time consuming bringing limited business value.</a:t>
            </a:r>
          </a:p>
          <a:p>
            <a:pPr marL="146304" indent="-146304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Project based funding model drives a siloed approach to data investment and ownership. 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61017" y="2053094"/>
            <a:ext cx="11104165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125617" y="1913173"/>
            <a:ext cx="2729426" cy="27984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799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portunity State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819131" y="1913173"/>
            <a:ext cx="1400628" cy="27984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621" fontAlgn="base">
              <a:spcBef>
                <a:spcPts val="1200"/>
              </a:spcBef>
            </a:pPr>
            <a:r>
              <a:rPr lang="en-US" sz="1799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verview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64433" y="2433359"/>
            <a:ext cx="3866551" cy="2824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gagement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liver specific data needs to our users across multiple use cases, lines of business  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Operations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kern="0">
                <a:solidFill>
                  <a:schemeClr val="tx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Provide an </a:t>
            </a:r>
            <a:r>
              <a:rPr lang="en-US" sz="16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sz="1600" kern="0">
                <a:solidFill>
                  <a:schemeClr val="tx1">
                    <a:lumMod val="75000"/>
                    <a:lumOff val="25000"/>
                  </a:schemeClr>
                </a:solidFill>
                <a:ea typeface="Domaine Display" charset="0"/>
                <a:cs typeface="Domaine Display" charset="0"/>
              </a:rPr>
              <a:t>ntegrated data ecosystem managed as a data platform product 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ights:</a:t>
            </a:r>
          </a:p>
          <a:p>
            <a:pPr marL="742950" lvl="1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iving innovation and actionable insights by accelerating data delivery 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tx2"/>
              </a:solidFill>
              <a:cs typeface="Open Sans Light"/>
            </a:endParaRPr>
          </a:p>
          <a:p>
            <a:pPr marL="285664" indent="-285664" defTabSz="456621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tx2"/>
              </a:solidFill>
              <a:cs typeface="Open Sans Ligh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450183" y="4847948"/>
            <a:ext cx="459685" cy="459685"/>
            <a:chOff x="357728" y="3202576"/>
            <a:chExt cx="469232" cy="469232"/>
          </a:xfrm>
          <a:effectLst>
            <a:outerShdw blurRad="63500" sx="105000" sy="105000" algn="ctr" rotWithShape="0">
              <a:prstClr val="black">
                <a:alpha val="20000"/>
              </a:prstClr>
            </a:outerShdw>
          </a:effectLst>
        </p:grpSpPr>
        <p:sp>
          <p:nvSpPr>
            <p:cNvPr id="12" name="Oval 11"/>
            <p:cNvSpPr/>
            <p:nvPr/>
          </p:nvSpPr>
          <p:spPr>
            <a:xfrm>
              <a:off x="357728" y="3202576"/>
              <a:ext cx="469232" cy="469232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4958"/>
            <p:cNvSpPr>
              <a:spLocks noEditPoints="1"/>
            </p:cNvSpPr>
            <p:nvPr/>
          </p:nvSpPr>
          <p:spPr bwMode="auto">
            <a:xfrm>
              <a:off x="427360" y="3263526"/>
              <a:ext cx="342148" cy="333884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450183" y="3570011"/>
            <a:ext cx="459685" cy="459685"/>
            <a:chOff x="7573215" y="2258092"/>
            <a:chExt cx="612000" cy="612000"/>
          </a:xfrm>
        </p:grpSpPr>
        <p:sp>
          <p:nvSpPr>
            <p:cNvPr id="15" name="Oval 14"/>
            <p:cNvSpPr/>
            <p:nvPr/>
          </p:nvSpPr>
          <p:spPr bwMode="ltGray">
            <a:xfrm>
              <a:off x="7573215" y="2258092"/>
              <a:ext cx="612000" cy="612000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7642971" y="2426134"/>
              <a:ext cx="472489" cy="281071"/>
              <a:chOff x="7646776" y="2426134"/>
              <a:chExt cx="472489" cy="281071"/>
            </a:xfrm>
          </p:grpSpPr>
          <p:sp>
            <p:nvSpPr>
              <p:cNvPr id="17" name="Freeform 4862"/>
              <p:cNvSpPr>
                <a:spLocks noEditPoints="1"/>
              </p:cNvSpPr>
              <p:nvPr/>
            </p:nvSpPr>
            <p:spPr bwMode="auto">
              <a:xfrm>
                <a:off x="7646776" y="2426134"/>
                <a:ext cx="472489" cy="281071"/>
              </a:xfrm>
              <a:custGeom>
                <a:avLst/>
                <a:gdLst>
                  <a:gd name="T0" fmla="*/ 98 w 390"/>
                  <a:gd name="T1" fmla="*/ 176 h 232"/>
                  <a:gd name="T2" fmla="*/ 114 w 390"/>
                  <a:gd name="T3" fmla="*/ 204 h 232"/>
                  <a:gd name="T4" fmla="*/ 106 w 390"/>
                  <a:gd name="T5" fmla="*/ 224 h 232"/>
                  <a:gd name="T6" fmla="*/ 86 w 390"/>
                  <a:gd name="T7" fmla="*/ 232 h 232"/>
                  <a:gd name="T8" fmla="*/ 60 w 390"/>
                  <a:gd name="T9" fmla="*/ 214 h 232"/>
                  <a:gd name="T10" fmla="*/ 60 w 390"/>
                  <a:gd name="T11" fmla="*/ 192 h 232"/>
                  <a:gd name="T12" fmla="*/ 86 w 390"/>
                  <a:gd name="T13" fmla="*/ 174 h 232"/>
                  <a:gd name="T14" fmla="*/ 318 w 390"/>
                  <a:gd name="T15" fmla="*/ 176 h 232"/>
                  <a:gd name="T16" fmla="*/ 334 w 390"/>
                  <a:gd name="T17" fmla="*/ 204 h 232"/>
                  <a:gd name="T18" fmla="*/ 326 w 390"/>
                  <a:gd name="T19" fmla="*/ 224 h 232"/>
                  <a:gd name="T20" fmla="*/ 306 w 390"/>
                  <a:gd name="T21" fmla="*/ 232 h 232"/>
                  <a:gd name="T22" fmla="*/ 280 w 390"/>
                  <a:gd name="T23" fmla="*/ 214 h 232"/>
                  <a:gd name="T24" fmla="*/ 280 w 390"/>
                  <a:gd name="T25" fmla="*/ 192 h 232"/>
                  <a:gd name="T26" fmla="*/ 306 w 390"/>
                  <a:gd name="T27" fmla="*/ 174 h 232"/>
                  <a:gd name="T28" fmla="*/ 296 w 390"/>
                  <a:gd name="T29" fmla="*/ 70 h 232"/>
                  <a:gd name="T30" fmla="*/ 296 w 390"/>
                  <a:gd name="T31" fmla="*/ 90 h 232"/>
                  <a:gd name="T32" fmla="*/ 316 w 390"/>
                  <a:gd name="T33" fmla="*/ 90 h 232"/>
                  <a:gd name="T34" fmla="*/ 316 w 390"/>
                  <a:gd name="T35" fmla="*/ 70 h 232"/>
                  <a:gd name="T36" fmla="*/ 138 w 390"/>
                  <a:gd name="T37" fmla="*/ 0 h 232"/>
                  <a:gd name="T38" fmla="*/ 130 w 390"/>
                  <a:gd name="T39" fmla="*/ 2 h 232"/>
                  <a:gd name="T40" fmla="*/ 14 w 390"/>
                  <a:gd name="T41" fmla="*/ 90 h 232"/>
                  <a:gd name="T42" fmla="*/ 8 w 390"/>
                  <a:gd name="T43" fmla="*/ 94 h 232"/>
                  <a:gd name="T44" fmla="*/ 0 w 390"/>
                  <a:gd name="T45" fmla="*/ 108 h 232"/>
                  <a:gd name="T46" fmla="*/ 2 w 390"/>
                  <a:gd name="T47" fmla="*/ 192 h 232"/>
                  <a:gd name="T48" fmla="*/ 20 w 390"/>
                  <a:gd name="T49" fmla="*/ 204 h 232"/>
                  <a:gd name="T50" fmla="*/ 38 w 390"/>
                  <a:gd name="T51" fmla="*/ 204 h 232"/>
                  <a:gd name="T52" fmla="*/ 40 w 390"/>
                  <a:gd name="T53" fmla="*/ 184 h 232"/>
                  <a:gd name="T54" fmla="*/ 58 w 390"/>
                  <a:gd name="T55" fmla="*/ 162 h 232"/>
                  <a:gd name="T56" fmla="*/ 86 w 390"/>
                  <a:gd name="T57" fmla="*/ 154 h 232"/>
                  <a:gd name="T58" fmla="*/ 104 w 390"/>
                  <a:gd name="T59" fmla="*/ 158 h 232"/>
                  <a:gd name="T60" fmla="*/ 126 w 390"/>
                  <a:gd name="T61" fmla="*/ 176 h 232"/>
                  <a:gd name="T62" fmla="*/ 134 w 390"/>
                  <a:gd name="T63" fmla="*/ 204 h 232"/>
                  <a:gd name="T64" fmla="*/ 262 w 390"/>
                  <a:gd name="T65" fmla="*/ 204 h 232"/>
                  <a:gd name="T66" fmla="*/ 262 w 390"/>
                  <a:gd name="T67" fmla="*/ 204 h 232"/>
                  <a:gd name="T68" fmla="*/ 268 w 390"/>
                  <a:gd name="T69" fmla="*/ 178 h 232"/>
                  <a:gd name="T70" fmla="*/ 288 w 390"/>
                  <a:gd name="T71" fmla="*/ 162 h 232"/>
                  <a:gd name="T72" fmla="*/ 306 w 390"/>
                  <a:gd name="T73" fmla="*/ 158 h 232"/>
                  <a:gd name="T74" fmla="*/ 332 w 390"/>
                  <a:gd name="T75" fmla="*/ 166 h 232"/>
                  <a:gd name="T76" fmla="*/ 348 w 390"/>
                  <a:gd name="T77" fmla="*/ 186 h 232"/>
                  <a:gd name="T78" fmla="*/ 350 w 390"/>
                  <a:gd name="T79" fmla="*/ 204 h 232"/>
                  <a:gd name="T80" fmla="*/ 370 w 390"/>
                  <a:gd name="T81" fmla="*/ 204 h 232"/>
                  <a:gd name="T82" fmla="*/ 388 w 390"/>
                  <a:gd name="T83" fmla="*/ 192 h 232"/>
                  <a:gd name="T84" fmla="*/ 390 w 390"/>
                  <a:gd name="T85" fmla="*/ 20 h 232"/>
                  <a:gd name="T86" fmla="*/ 378 w 390"/>
                  <a:gd name="T87" fmla="*/ 0 h 232"/>
                  <a:gd name="T88" fmla="*/ 140 w 390"/>
                  <a:gd name="T89" fmla="*/ 74 h 232"/>
                  <a:gd name="T90" fmla="*/ 140 w 390"/>
                  <a:gd name="T91" fmla="*/ 74 h 232"/>
                  <a:gd name="T92" fmla="*/ 294 w 390"/>
                  <a:gd name="T93" fmla="*/ 136 h 232"/>
                  <a:gd name="T94" fmla="*/ 266 w 390"/>
                  <a:gd name="T95" fmla="*/ 122 h 232"/>
                  <a:gd name="T96" fmla="*/ 250 w 390"/>
                  <a:gd name="T97" fmla="*/ 92 h 232"/>
                  <a:gd name="T98" fmla="*/ 250 w 390"/>
                  <a:gd name="T99" fmla="*/ 68 h 232"/>
                  <a:gd name="T100" fmla="*/ 266 w 390"/>
                  <a:gd name="T101" fmla="*/ 40 h 232"/>
                  <a:gd name="T102" fmla="*/ 294 w 390"/>
                  <a:gd name="T103" fmla="*/ 24 h 232"/>
                  <a:gd name="T104" fmla="*/ 318 w 390"/>
                  <a:gd name="T105" fmla="*/ 24 h 232"/>
                  <a:gd name="T106" fmla="*/ 346 w 390"/>
                  <a:gd name="T107" fmla="*/ 40 h 232"/>
                  <a:gd name="T108" fmla="*/ 362 w 390"/>
                  <a:gd name="T109" fmla="*/ 68 h 232"/>
                  <a:gd name="T110" fmla="*/ 362 w 390"/>
                  <a:gd name="T111" fmla="*/ 92 h 232"/>
                  <a:gd name="T112" fmla="*/ 346 w 390"/>
                  <a:gd name="T113" fmla="*/ 122 h 232"/>
                  <a:gd name="T114" fmla="*/ 318 w 390"/>
                  <a:gd name="T115" fmla="*/ 13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0" h="232">
                    <a:moveTo>
                      <a:pt x="86" y="174"/>
                    </a:moveTo>
                    <a:lnTo>
                      <a:pt x="86" y="174"/>
                    </a:lnTo>
                    <a:lnTo>
                      <a:pt x="98" y="176"/>
                    </a:lnTo>
                    <a:lnTo>
                      <a:pt x="106" y="182"/>
                    </a:lnTo>
                    <a:lnTo>
                      <a:pt x="112" y="192"/>
                    </a:lnTo>
                    <a:lnTo>
                      <a:pt x="114" y="204"/>
                    </a:lnTo>
                    <a:lnTo>
                      <a:pt x="114" y="204"/>
                    </a:lnTo>
                    <a:lnTo>
                      <a:pt x="112" y="214"/>
                    </a:lnTo>
                    <a:lnTo>
                      <a:pt x="106" y="224"/>
                    </a:lnTo>
                    <a:lnTo>
                      <a:pt x="98" y="230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74" y="230"/>
                    </a:lnTo>
                    <a:lnTo>
                      <a:pt x="66" y="224"/>
                    </a:lnTo>
                    <a:lnTo>
                      <a:pt x="60" y="214"/>
                    </a:lnTo>
                    <a:lnTo>
                      <a:pt x="58" y="204"/>
                    </a:lnTo>
                    <a:lnTo>
                      <a:pt x="58" y="204"/>
                    </a:lnTo>
                    <a:lnTo>
                      <a:pt x="60" y="192"/>
                    </a:lnTo>
                    <a:lnTo>
                      <a:pt x="66" y="182"/>
                    </a:lnTo>
                    <a:lnTo>
                      <a:pt x="74" y="176"/>
                    </a:lnTo>
                    <a:lnTo>
                      <a:pt x="86" y="174"/>
                    </a:lnTo>
                    <a:close/>
                    <a:moveTo>
                      <a:pt x="306" y="174"/>
                    </a:moveTo>
                    <a:lnTo>
                      <a:pt x="306" y="174"/>
                    </a:lnTo>
                    <a:lnTo>
                      <a:pt x="318" y="176"/>
                    </a:lnTo>
                    <a:lnTo>
                      <a:pt x="326" y="182"/>
                    </a:lnTo>
                    <a:lnTo>
                      <a:pt x="332" y="192"/>
                    </a:lnTo>
                    <a:lnTo>
                      <a:pt x="334" y="204"/>
                    </a:lnTo>
                    <a:lnTo>
                      <a:pt x="334" y="204"/>
                    </a:lnTo>
                    <a:lnTo>
                      <a:pt x="332" y="214"/>
                    </a:lnTo>
                    <a:lnTo>
                      <a:pt x="326" y="224"/>
                    </a:lnTo>
                    <a:lnTo>
                      <a:pt x="318" y="230"/>
                    </a:lnTo>
                    <a:lnTo>
                      <a:pt x="306" y="232"/>
                    </a:lnTo>
                    <a:lnTo>
                      <a:pt x="306" y="232"/>
                    </a:lnTo>
                    <a:lnTo>
                      <a:pt x="294" y="230"/>
                    </a:lnTo>
                    <a:lnTo>
                      <a:pt x="286" y="224"/>
                    </a:lnTo>
                    <a:lnTo>
                      <a:pt x="280" y="214"/>
                    </a:lnTo>
                    <a:lnTo>
                      <a:pt x="278" y="204"/>
                    </a:lnTo>
                    <a:lnTo>
                      <a:pt x="278" y="204"/>
                    </a:lnTo>
                    <a:lnTo>
                      <a:pt x="280" y="192"/>
                    </a:lnTo>
                    <a:lnTo>
                      <a:pt x="286" y="182"/>
                    </a:lnTo>
                    <a:lnTo>
                      <a:pt x="294" y="176"/>
                    </a:lnTo>
                    <a:lnTo>
                      <a:pt x="306" y="174"/>
                    </a:lnTo>
                    <a:close/>
                    <a:moveTo>
                      <a:pt x="316" y="40"/>
                    </a:moveTo>
                    <a:lnTo>
                      <a:pt x="296" y="40"/>
                    </a:lnTo>
                    <a:lnTo>
                      <a:pt x="296" y="70"/>
                    </a:lnTo>
                    <a:lnTo>
                      <a:pt x="266" y="70"/>
                    </a:lnTo>
                    <a:lnTo>
                      <a:pt x="266" y="90"/>
                    </a:lnTo>
                    <a:lnTo>
                      <a:pt x="296" y="90"/>
                    </a:lnTo>
                    <a:lnTo>
                      <a:pt x="296" y="120"/>
                    </a:lnTo>
                    <a:lnTo>
                      <a:pt x="316" y="120"/>
                    </a:lnTo>
                    <a:lnTo>
                      <a:pt x="316" y="90"/>
                    </a:lnTo>
                    <a:lnTo>
                      <a:pt x="346" y="90"/>
                    </a:lnTo>
                    <a:lnTo>
                      <a:pt x="346" y="70"/>
                    </a:lnTo>
                    <a:lnTo>
                      <a:pt x="316" y="70"/>
                    </a:lnTo>
                    <a:lnTo>
                      <a:pt x="316" y="40"/>
                    </a:lnTo>
                    <a:close/>
                    <a:moveTo>
                      <a:pt x="370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0" y="2"/>
                    </a:lnTo>
                    <a:lnTo>
                      <a:pt x="56" y="7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4"/>
                    </a:lnTo>
                    <a:lnTo>
                      <a:pt x="4" y="98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92"/>
                    </a:lnTo>
                    <a:lnTo>
                      <a:pt x="6" y="200"/>
                    </a:lnTo>
                    <a:lnTo>
                      <a:pt x="12" y="204"/>
                    </a:lnTo>
                    <a:lnTo>
                      <a:pt x="20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194"/>
                    </a:lnTo>
                    <a:lnTo>
                      <a:pt x="40" y="184"/>
                    </a:lnTo>
                    <a:lnTo>
                      <a:pt x="46" y="176"/>
                    </a:lnTo>
                    <a:lnTo>
                      <a:pt x="52" y="168"/>
                    </a:lnTo>
                    <a:lnTo>
                      <a:pt x="58" y="162"/>
                    </a:lnTo>
                    <a:lnTo>
                      <a:pt x="66" y="158"/>
                    </a:lnTo>
                    <a:lnTo>
                      <a:pt x="76" y="156"/>
                    </a:lnTo>
                    <a:lnTo>
                      <a:pt x="86" y="154"/>
                    </a:lnTo>
                    <a:lnTo>
                      <a:pt x="86" y="154"/>
                    </a:lnTo>
                    <a:lnTo>
                      <a:pt x="96" y="156"/>
                    </a:lnTo>
                    <a:lnTo>
                      <a:pt x="104" y="158"/>
                    </a:lnTo>
                    <a:lnTo>
                      <a:pt x="114" y="162"/>
                    </a:lnTo>
                    <a:lnTo>
                      <a:pt x="120" y="168"/>
                    </a:lnTo>
                    <a:lnTo>
                      <a:pt x="126" y="176"/>
                    </a:lnTo>
                    <a:lnTo>
                      <a:pt x="130" y="184"/>
                    </a:lnTo>
                    <a:lnTo>
                      <a:pt x="134" y="19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194"/>
                    </a:lnTo>
                    <a:lnTo>
                      <a:pt x="264" y="186"/>
                    </a:lnTo>
                    <a:lnTo>
                      <a:pt x="268" y="178"/>
                    </a:lnTo>
                    <a:lnTo>
                      <a:pt x="274" y="172"/>
                    </a:lnTo>
                    <a:lnTo>
                      <a:pt x="282" y="166"/>
                    </a:lnTo>
                    <a:lnTo>
                      <a:pt x="288" y="162"/>
                    </a:lnTo>
                    <a:lnTo>
                      <a:pt x="298" y="160"/>
                    </a:lnTo>
                    <a:lnTo>
                      <a:pt x="306" y="158"/>
                    </a:lnTo>
                    <a:lnTo>
                      <a:pt x="306" y="158"/>
                    </a:lnTo>
                    <a:lnTo>
                      <a:pt x="316" y="160"/>
                    </a:lnTo>
                    <a:lnTo>
                      <a:pt x="324" y="162"/>
                    </a:lnTo>
                    <a:lnTo>
                      <a:pt x="332" y="166"/>
                    </a:lnTo>
                    <a:lnTo>
                      <a:pt x="338" y="172"/>
                    </a:lnTo>
                    <a:lnTo>
                      <a:pt x="344" y="178"/>
                    </a:lnTo>
                    <a:lnTo>
                      <a:pt x="348" y="186"/>
                    </a:lnTo>
                    <a:lnTo>
                      <a:pt x="350" y="19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70" y="204"/>
                    </a:lnTo>
                    <a:lnTo>
                      <a:pt x="370" y="204"/>
                    </a:lnTo>
                    <a:lnTo>
                      <a:pt x="378" y="204"/>
                    </a:lnTo>
                    <a:lnTo>
                      <a:pt x="384" y="198"/>
                    </a:lnTo>
                    <a:lnTo>
                      <a:pt x="388" y="192"/>
                    </a:lnTo>
                    <a:lnTo>
                      <a:pt x="390" y="184"/>
                    </a:lnTo>
                    <a:lnTo>
                      <a:pt x="390" y="20"/>
                    </a:lnTo>
                    <a:lnTo>
                      <a:pt x="390" y="20"/>
                    </a:lnTo>
                    <a:lnTo>
                      <a:pt x="388" y="12"/>
                    </a:lnTo>
                    <a:lnTo>
                      <a:pt x="384" y="6"/>
                    </a:lnTo>
                    <a:lnTo>
                      <a:pt x="378" y="0"/>
                    </a:lnTo>
                    <a:lnTo>
                      <a:pt x="370" y="0"/>
                    </a:lnTo>
                    <a:lnTo>
                      <a:pt x="370" y="0"/>
                    </a:lnTo>
                    <a:close/>
                    <a:moveTo>
                      <a:pt x="140" y="74"/>
                    </a:moveTo>
                    <a:lnTo>
                      <a:pt x="86" y="74"/>
                    </a:lnTo>
                    <a:lnTo>
                      <a:pt x="140" y="18"/>
                    </a:lnTo>
                    <a:lnTo>
                      <a:pt x="140" y="74"/>
                    </a:lnTo>
                    <a:close/>
                    <a:moveTo>
                      <a:pt x="306" y="138"/>
                    </a:moveTo>
                    <a:lnTo>
                      <a:pt x="306" y="138"/>
                    </a:lnTo>
                    <a:lnTo>
                      <a:pt x="294" y="136"/>
                    </a:lnTo>
                    <a:lnTo>
                      <a:pt x="284" y="134"/>
                    </a:lnTo>
                    <a:lnTo>
                      <a:pt x="274" y="128"/>
                    </a:lnTo>
                    <a:lnTo>
                      <a:pt x="266" y="122"/>
                    </a:lnTo>
                    <a:lnTo>
                      <a:pt x="258" y="112"/>
                    </a:lnTo>
                    <a:lnTo>
                      <a:pt x="252" y="102"/>
                    </a:lnTo>
                    <a:lnTo>
                      <a:pt x="250" y="92"/>
                    </a:lnTo>
                    <a:lnTo>
                      <a:pt x="248" y="80"/>
                    </a:lnTo>
                    <a:lnTo>
                      <a:pt x="248" y="80"/>
                    </a:lnTo>
                    <a:lnTo>
                      <a:pt x="250" y="68"/>
                    </a:lnTo>
                    <a:lnTo>
                      <a:pt x="252" y="58"/>
                    </a:lnTo>
                    <a:lnTo>
                      <a:pt x="258" y="48"/>
                    </a:lnTo>
                    <a:lnTo>
                      <a:pt x="266" y="40"/>
                    </a:lnTo>
                    <a:lnTo>
                      <a:pt x="274" y="32"/>
                    </a:lnTo>
                    <a:lnTo>
                      <a:pt x="284" y="28"/>
                    </a:lnTo>
                    <a:lnTo>
                      <a:pt x="294" y="24"/>
                    </a:lnTo>
                    <a:lnTo>
                      <a:pt x="306" y="22"/>
                    </a:lnTo>
                    <a:lnTo>
                      <a:pt x="306" y="22"/>
                    </a:lnTo>
                    <a:lnTo>
                      <a:pt x="318" y="24"/>
                    </a:lnTo>
                    <a:lnTo>
                      <a:pt x="328" y="28"/>
                    </a:lnTo>
                    <a:lnTo>
                      <a:pt x="338" y="32"/>
                    </a:lnTo>
                    <a:lnTo>
                      <a:pt x="346" y="40"/>
                    </a:lnTo>
                    <a:lnTo>
                      <a:pt x="354" y="48"/>
                    </a:lnTo>
                    <a:lnTo>
                      <a:pt x="360" y="58"/>
                    </a:lnTo>
                    <a:lnTo>
                      <a:pt x="362" y="68"/>
                    </a:lnTo>
                    <a:lnTo>
                      <a:pt x="364" y="80"/>
                    </a:lnTo>
                    <a:lnTo>
                      <a:pt x="364" y="80"/>
                    </a:lnTo>
                    <a:lnTo>
                      <a:pt x="362" y="92"/>
                    </a:lnTo>
                    <a:lnTo>
                      <a:pt x="360" y="102"/>
                    </a:lnTo>
                    <a:lnTo>
                      <a:pt x="354" y="112"/>
                    </a:lnTo>
                    <a:lnTo>
                      <a:pt x="346" y="122"/>
                    </a:lnTo>
                    <a:lnTo>
                      <a:pt x="338" y="128"/>
                    </a:lnTo>
                    <a:lnTo>
                      <a:pt x="328" y="134"/>
                    </a:lnTo>
                    <a:lnTo>
                      <a:pt x="318" y="136"/>
                    </a:lnTo>
                    <a:lnTo>
                      <a:pt x="306" y="138"/>
                    </a:lnTo>
                    <a:lnTo>
                      <a:pt x="306" y="13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8" name="Freeform 4863"/>
              <p:cNvSpPr>
                <a:spLocks/>
              </p:cNvSpPr>
              <p:nvPr/>
            </p:nvSpPr>
            <p:spPr bwMode="auto">
              <a:xfrm>
                <a:off x="7717043" y="2636937"/>
                <a:ext cx="67845" cy="70268"/>
              </a:xfrm>
              <a:custGeom>
                <a:avLst/>
                <a:gdLst>
                  <a:gd name="T0" fmla="*/ 28 w 56"/>
                  <a:gd name="T1" fmla="*/ 0 h 58"/>
                  <a:gd name="T2" fmla="*/ 28 w 56"/>
                  <a:gd name="T3" fmla="*/ 0 h 58"/>
                  <a:gd name="T4" fmla="*/ 40 w 56"/>
                  <a:gd name="T5" fmla="*/ 2 h 58"/>
                  <a:gd name="T6" fmla="*/ 48 w 56"/>
                  <a:gd name="T7" fmla="*/ 8 h 58"/>
                  <a:gd name="T8" fmla="*/ 54 w 56"/>
                  <a:gd name="T9" fmla="*/ 18 h 58"/>
                  <a:gd name="T10" fmla="*/ 56 w 56"/>
                  <a:gd name="T11" fmla="*/ 30 h 58"/>
                  <a:gd name="T12" fmla="*/ 56 w 56"/>
                  <a:gd name="T13" fmla="*/ 30 h 58"/>
                  <a:gd name="T14" fmla="*/ 54 w 56"/>
                  <a:gd name="T15" fmla="*/ 40 h 58"/>
                  <a:gd name="T16" fmla="*/ 48 w 56"/>
                  <a:gd name="T17" fmla="*/ 50 h 58"/>
                  <a:gd name="T18" fmla="*/ 40 w 56"/>
                  <a:gd name="T19" fmla="*/ 56 h 58"/>
                  <a:gd name="T20" fmla="*/ 28 w 56"/>
                  <a:gd name="T21" fmla="*/ 58 h 58"/>
                  <a:gd name="T22" fmla="*/ 28 w 56"/>
                  <a:gd name="T23" fmla="*/ 58 h 58"/>
                  <a:gd name="T24" fmla="*/ 16 w 56"/>
                  <a:gd name="T25" fmla="*/ 56 h 58"/>
                  <a:gd name="T26" fmla="*/ 8 w 56"/>
                  <a:gd name="T27" fmla="*/ 50 h 58"/>
                  <a:gd name="T28" fmla="*/ 2 w 56"/>
                  <a:gd name="T29" fmla="*/ 40 h 58"/>
                  <a:gd name="T30" fmla="*/ 0 w 56"/>
                  <a:gd name="T31" fmla="*/ 30 h 58"/>
                  <a:gd name="T32" fmla="*/ 0 w 56"/>
                  <a:gd name="T33" fmla="*/ 30 h 58"/>
                  <a:gd name="T34" fmla="*/ 2 w 56"/>
                  <a:gd name="T35" fmla="*/ 18 h 58"/>
                  <a:gd name="T36" fmla="*/ 8 w 56"/>
                  <a:gd name="T37" fmla="*/ 8 h 58"/>
                  <a:gd name="T38" fmla="*/ 16 w 56"/>
                  <a:gd name="T39" fmla="*/ 2 h 58"/>
                  <a:gd name="T40" fmla="*/ 28 w 56"/>
                  <a:gd name="T4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40" y="2"/>
                    </a:lnTo>
                    <a:lnTo>
                      <a:pt x="48" y="8"/>
                    </a:lnTo>
                    <a:lnTo>
                      <a:pt x="54" y="1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4" y="40"/>
                    </a:lnTo>
                    <a:lnTo>
                      <a:pt x="48" y="50"/>
                    </a:lnTo>
                    <a:lnTo>
                      <a:pt x="4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16" y="56"/>
                    </a:lnTo>
                    <a:lnTo>
                      <a:pt x="8" y="50"/>
                    </a:lnTo>
                    <a:lnTo>
                      <a:pt x="2" y="4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1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9" name="Freeform 4864"/>
              <p:cNvSpPr>
                <a:spLocks/>
              </p:cNvSpPr>
              <p:nvPr/>
            </p:nvSpPr>
            <p:spPr bwMode="auto">
              <a:xfrm>
                <a:off x="7983576" y="2636937"/>
                <a:ext cx="67845" cy="70268"/>
              </a:xfrm>
              <a:custGeom>
                <a:avLst/>
                <a:gdLst>
                  <a:gd name="T0" fmla="*/ 28 w 56"/>
                  <a:gd name="T1" fmla="*/ 0 h 58"/>
                  <a:gd name="T2" fmla="*/ 28 w 56"/>
                  <a:gd name="T3" fmla="*/ 0 h 58"/>
                  <a:gd name="T4" fmla="*/ 40 w 56"/>
                  <a:gd name="T5" fmla="*/ 2 h 58"/>
                  <a:gd name="T6" fmla="*/ 48 w 56"/>
                  <a:gd name="T7" fmla="*/ 8 h 58"/>
                  <a:gd name="T8" fmla="*/ 54 w 56"/>
                  <a:gd name="T9" fmla="*/ 18 h 58"/>
                  <a:gd name="T10" fmla="*/ 56 w 56"/>
                  <a:gd name="T11" fmla="*/ 30 h 58"/>
                  <a:gd name="T12" fmla="*/ 56 w 56"/>
                  <a:gd name="T13" fmla="*/ 30 h 58"/>
                  <a:gd name="T14" fmla="*/ 54 w 56"/>
                  <a:gd name="T15" fmla="*/ 40 h 58"/>
                  <a:gd name="T16" fmla="*/ 48 w 56"/>
                  <a:gd name="T17" fmla="*/ 50 h 58"/>
                  <a:gd name="T18" fmla="*/ 40 w 56"/>
                  <a:gd name="T19" fmla="*/ 56 h 58"/>
                  <a:gd name="T20" fmla="*/ 28 w 56"/>
                  <a:gd name="T21" fmla="*/ 58 h 58"/>
                  <a:gd name="T22" fmla="*/ 28 w 56"/>
                  <a:gd name="T23" fmla="*/ 58 h 58"/>
                  <a:gd name="T24" fmla="*/ 16 w 56"/>
                  <a:gd name="T25" fmla="*/ 56 h 58"/>
                  <a:gd name="T26" fmla="*/ 8 w 56"/>
                  <a:gd name="T27" fmla="*/ 50 h 58"/>
                  <a:gd name="T28" fmla="*/ 2 w 56"/>
                  <a:gd name="T29" fmla="*/ 40 h 58"/>
                  <a:gd name="T30" fmla="*/ 0 w 56"/>
                  <a:gd name="T31" fmla="*/ 30 h 58"/>
                  <a:gd name="T32" fmla="*/ 0 w 56"/>
                  <a:gd name="T33" fmla="*/ 30 h 58"/>
                  <a:gd name="T34" fmla="*/ 2 w 56"/>
                  <a:gd name="T35" fmla="*/ 18 h 58"/>
                  <a:gd name="T36" fmla="*/ 8 w 56"/>
                  <a:gd name="T37" fmla="*/ 8 h 58"/>
                  <a:gd name="T38" fmla="*/ 16 w 56"/>
                  <a:gd name="T39" fmla="*/ 2 h 58"/>
                  <a:gd name="T40" fmla="*/ 28 w 56"/>
                  <a:gd name="T4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40" y="2"/>
                    </a:lnTo>
                    <a:lnTo>
                      <a:pt x="48" y="8"/>
                    </a:lnTo>
                    <a:lnTo>
                      <a:pt x="54" y="1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4" y="40"/>
                    </a:lnTo>
                    <a:lnTo>
                      <a:pt x="48" y="50"/>
                    </a:lnTo>
                    <a:lnTo>
                      <a:pt x="4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16" y="56"/>
                    </a:lnTo>
                    <a:lnTo>
                      <a:pt x="8" y="50"/>
                    </a:lnTo>
                    <a:lnTo>
                      <a:pt x="2" y="4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18"/>
                    </a:lnTo>
                    <a:lnTo>
                      <a:pt x="8" y="8"/>
                    </a:lnTo>
                    <a:lnTo>
                      <a:pt x="16" y="2"/>
                    </a:lnTo>
                    <a:lnTo>
                      <a:pt x="28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" name="Freeform 4865"/>
              <p:cNvSpPr>
                <a:spLocks/>
              </p:cNvSpPr>
              <p:nvPr/>
            </p:nvSpPr>
            <p:spPr bwMode="auto">
              <a:xfrm>
                <a:off x="7969038" y="2474594"/>
                <a:ext cx="96921" cy="96921"/>
              </a:xfrm>
              <a:custGeom>
                <a:avLst/>
                <a:gdLst>
                  <a:gd name="T0" fmla="*/ 50 w 80"/>
                  <a:gd name="T1" fmla="*/ 0 h 80"/>
                  <a:gd name="T2" fmla="*/ 30 w 80"/>
                  <a:gd name="T3" fmla="*/ 0 h 80"/>
                  <a:gd name="T4" fmla="*/ 30 w 80"/>
                  <a:gd name="T5" fmla="*/ 30 h 80"/>
                  <a:gd name="T6" fmla="*/ 0 w 80"/>
                  <a:gd name="T7" fmla="*/ 30 h 80"/>
                  <a:gd name="T8" fmla="*/ 0 w 80"/>
                  <a:gd name="T9" fmla="*/ 50 h 80"/>
                  <a:gd name="T10" fmla="*/ 30 w 80"/>
                  <a:gd name="T11" fmla="*/ 50 h 80"/>
                  <a:gd name="T12" fmla="*/ 30 w 80"/>
                  <a:gd name="T13" fmla="*/ 80 h 80"/>
                  <a:gd name="T14" fmla="*/ 50 w 80"/>
                  <a:gd name="T15" fmla="*/ 80 h 80"/>
                  <a:gd name="T16" fmla="*/ 50 w 80"/>
                  <a:gd name="T17" fmla="*/ 50 h 80"/>
                  <a:gd name="T18" fmla="*/ 80 w 80"/>
                  <a:gd name="T19" fmla="*/ 50 h 80"/>
                  <a:gd name="T20" fmla="*/ 80 w 80"/>
                  <a:gd name="T21" fmla="*/ 30 h 80"/>
                  <a:gd name="T22" fmla="*/ 50 w 80"/>
                  <a:gd name="T23" fmla="*/ 30 h 80"/>
                  <a:gd name="T24" fmla="*/ 50 w 80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80">
                    <a:moveTo>
                      <a:pt x="50" y="0"/>
                    </a:moveTo>
                    <a:lnTo>
                      <a:pt x="30" y="0"/>
                    </a:lnTo>
                    <a:lnTo>
                      <a:pt x="30" y="30"/>
                    </a:lnTo>
                    <a:lnTo>
                      <a:pt x="0" y="30"/>
                    </a:lnTo>
                    <a:lnTo>
                      <a:pt x="0" y="50"/>
                    </a:lnTo>
                    <a:lnTo>
                      <a:pt x="30" y="50"/>
                    </a:lnTo>
                    <a:lnTo>
                      <a:pt x="30" y="80"/>
                    </a:lnTo>
                    <a:lnTo>
                      <a:pt x="50" y="80"/>
                    </a:lnTo>
                    <a:lnTo>
                      <a:pt x="50" y="50"/>
                    </a:lnTo>
                    <a:lnTo>
                      <a:pt x="80" y="50"/>
                    </a:lnTo>
                    <a:lnTo>
                      <a:pt x="80" y="30"/>
                    </a:lnTo>
                    <a:lnTo>
                      <a:pt x="50" y="30"/>
                    </a:lnTo>
                    <a:lnTo>
                      <a:pt x="50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Freeform 4866"/>
              <p:cNvSpPr>
                <a:spLocks/>
              </p:cNvSpPr>
              <p:nvPr/>
            </p:nvSpPr>
            <p:spPr bwMode="auto">
              <a:xfrm>
                <a:off x="7646776" y="2426134"/>
                <a:ext cx="472489" cy="247148"/>
              </a:xfrm>
              <a:custGeom>
                <a:avLst/>
                <a:gdLst>
                  <a:gd name="T0" fmla="*/ 138 w 390"/>
                  <a:gd name="T1" fmla="*/ 0 h 204"/>
                  <a:gd name="T2" fmla="*/ 134 w 390"/>
                  <a:gd name="T3" fmla="*/ 0 h 204"/>
                  <a:gd name="T4" fmla="*/ 56 w 390"/>
                  <a:gd name="T5" fmla="*/ 76 h 204"/>
                  <a:gd name="T6" fmla="*/ 14 w 390"/>
                  <a:gd name="T7" fmla="*/ 90 h 204"/>
                  <a:gd name="T8" fmla="*/ 12 w 390"/>
                  <a:gd name="T9" fmla="*/ 90 h 204"/>
                  <a:gd name="T10" fmla="*/ 4 w 390"/>
                  <a:gd name="T11" fmla="*/ 98 h 204"/>
                  <a:gd name="T12" fmla="*/ 0 w 390"/>
                  <a:gd name="T13" fmla="*/ 108 h 204"/>
                  <a:gd name="T14" fmla="*/ 0 w 390"/>
                  <a:gd name="T15" fmla="*/ 186 h 204"/>
                  <a:gd name="T16" fmla="*/ 6 w 390"/>
                  <a:gd name="T17" fmla="*/ 200 h 204"/>
                  <a:gd name="T18" fmla="*/ 20 w 390"/>
                  <a:gd name="T19" fmla="*/ 204 h 204"/>
                  <a:gd name="T20" fmla="*/ 38 w 390"/>
                  <a:gd name="T21" fmla="*/ 204 h 204"/>
                  <a:gd name="T22" fmla="*/ 38 w 390"/>
                  <a:gd name="T23" fmla="*/ 204 h 204"/>
                  <a:gd name="T24" fmla="*/ 40 w 390"/>
                  <a:gd name="T25" fmla="*/ 184 h 204"/>
                  <a:gd name="T26" fmla="*/ 52 w 390"/>
                  <a:gd name="T27" fmla="*/ 168 h 204"/>
                  <a:gd name="T28" fmla="*/ 66 w 390"/>
                  <a:gd name="T29" fmla="*/ 158 h 204"/>
                  <a:gd name="T30" fmla="*/ 86 w 390"/>
                  <a:gd name="T31" fmla="*/ 154 h 204"/>
                  <a:gd name="T32" fmla="*/ 96 w 390"/>
                  <a:gd name="T33" fmla="*/ 156 h 204"/>
                  <a:gd name="T34" fmla="*/ 114 w 390"/>
                  <a:gd name="T35" fmla="*/ 162 h 204"/>
                  <a:gd name="T36" fmla="*/ 126 w 390"/>
                  <a:gd name="T37" fmla="*/ 176 h 204"/>
                  <a:gd name="T38" fmla="*/ 134 w 390"/>
                  <a:gd name="T39" fmla="*/ 194 h 204"/>
                  <a:gd name="T40" fmla="*/ 134 w 390"/>
                  <a:gd name="T41" fmla="*/ 204 h 204"/>
                  <a:gd name="T42" fmla="*/ 262 w 390"/>
                  <a:gd name="T43" fmla="*/ 204 h 204"/>
                  <a:gd name="T44" fmla="*/ 262 w 390"/>
                  <a:gd name="T45" fmla="*/ 204 h 204"/>
                  <a:gd name="T46" fmla="*/ 262 w 390"/>
                  <a:gd name="T47" fmla="*/ 194 h 204"/>
                  <a:gd name="T48" fmla="*/ 268 w 390"/>
                  <a:gd name="T49" fmla="*/ 178 h 204"/>
                  <a:gd name="T50" fmla="*/ 282 w 390"/>
                  <a:gd name="T51" fmla="*/ 166 h 204"/>
                  <a:gd name="T52" fmla="*/ 298 w 390"/>
                  <a:gd name="T53" fmla="*/ 160 h 204"/>
                  <a:gd name="T54" fmla="*/ 306 w 390"/>
                  <a:gd name="T55" fmla="*/ 158 h 204"/>
                  <a:gd name="T56" fmla="*/ 324 w 390"/>
                  <a:gd name="T57" fmla="*/ 162 h 204"/>
                  <a:gd name="T58" fmla="*/ 338 w 390"/>
                  <a:gd name="T59" fmla="*/ 172 h 204"/>
                  <a:gd name="T60" fmla="*/ 348 w 390"/>
                  <a:gd name="T61" fmla="*/ 186 h 204"/>
                  <a:gd name="T62" fmla="*/ 350 w 390"/>
                  <a:gd name="T63" fmla="*/ 204 h 204"/>
                  <a:gd name="T64" fmla="*/ 350 w 390"/>
                  <a:gd name="T65" fmla="*/ 204 h 204"/>
                  <a:gd name="T66" fmla="*/ 370 w 390"/>
                  <a:gd name="T67" fmla="*/ 204 h 204"/>
                  <a:gd name="T68" fmla="*/ 384 w 390"/>
                  <a:gd name="T69" fmla="*/ 198 h 204"/>
                  <a:gd name="T70" fmla="*/ 390 w 390"/>
                  <a:gd name="T71" fmla="*/ 184 h 204"/>
                  <a:gd name="T72" fmla="*/ 390 w 390"/>
                  <a:gd name="T73" fmla="*/ 20 h 204"/>
                  <a:gd name="T74" fmla="*/ 384 w 390"/>
                  <a:gd name="T75" fmla="*/ 6 h 204"/>
                  <a:gd name="T76" fmla="*/ 370 w 390"/>
                  <a:gd name="T77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0" h="204">
                    <a:moveTo>
                      <a:pt x="370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0" y="2"/>
                    </a:lnTo>
                    <a:lnTo>
                      <a:pt x="56" y="76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4"/>
                    </a:lnTo>
                    <a:lnTo>
                      <a:pt x="4" y="98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92"/>
                    </a:lnTo>
                    <a:lnTo>
                      <a:pt x="6" y="200"/>
                    </a:lnTo>
                    <a:lnTo>
                      <a:pt x="12" y="204"/>
                    </a:lnTo>
                    <a:lnTo>
                      <a:pt x="20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38" y="194"/>
                    </a:lnTo>
                    <a:lnTo>
                      <a:pt x="40" y="184"/>
                    </a:lnTo>
                    <a:lnTo>
                      <a:pt x="46" y="176"/>
                    </a:lnTo>
                    <a:lnTo>
                      <a:pt x="52" y="168"/>
                    </a:lnTo>
                    <a:lnTo>
                      <a:pt x="58" y="162"/>
                    </a:lnTo>
                    <a:lnTo>
                      <a:pt x="66" y="158"/>
                    </a:lnTo>
                    <a:lnTo>
                      <a:pt x="76" y="156"/>
                    </a:lnTo>
                    <a:lnTo>
                      <a:pt x="86" y="154"/>
                    </a:lnTo>
                    <a:lnTo>
                      <a:pt x="86" y="154"/>
                    </a:lnTo>
                    <a:lnTo>
                      <a:pt x="96" y="156"/>
                    </a:lnTo>
                    <a:lnTo>
                      <a:pt x="104" y="158"/>
                    </a:lnTo>
                    <a:lnTo>
                      <a:pt x="114" y="162"/>
                    </a:lnTo>
                    <a:lnTo>
                      <a:pt x="120" y="168"/>
                    </a:lnTo>
                    <a:lnTo>
                      <a:pt x="126" y="176"/>
                    </a:lnTo>
                    <a:lnTo>
                      <a:pt x="130" y="184"/>
                    </a:lnTo>
                    <a:lnTo>
                      <a:pt x="134" y="19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204"/>
                    </a:lnTo>
                    <a:lnTo>
                      <a:pt x="262" y="194"/>
                    </a:lnTo>
                    <a:lnTo>
                      <a:pt x="264" y="186"/>
                    </a:lnTo>
                    <a:lnTo>
                      <a:pt x="268" y="178"/>
                    </a:lnTo>
                    <a:lnTo>
                      <a:pt x="274" y="172"/>
                    </a:lnTo>
                    <a:lnTo>
                      <a:pt x="282" y="166"/>
                    </a:lnTo>
                    <a:lnTo>
                      <a:pt x="288" y="162"/>
                    </a:lnTo>
                    <a:lnTo>
                      <a:pt x="298" y="160"/>
                    </a:lnTo>
                    <a:lnTo>
                      <a:pt x="306" y="158"/>
                    </a:lnTo>
                    <a:lnTo>
                      <a:pt x="306" y="158"/>
                    </a:lnTo>
                    <a:lnTo>
                      <a:pt x="316" y="160"/>
                    </a:lnTo>
                    <a:lnTo>
                      <a:pt x="324" y="162"/>
                    </a:lnTo>
                    <a:lnTo>
                      <a:pt x="332" y="166"/>
                    </a:lnTo>
                    <a:lnTo>
                      <a:pt x="338" y="172"/>
                    </a:lnTo>
                    <a:lnTo>
                      <a:pt x="344" y="178"/>
                    </a:lnTo>
                    <a:lnTo>
                      <a:pt x="348" y="186"/>
                    </a:lnTo>
                    <a:lnTo>
                      <a:pt x="350" y="19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50" y="204"/>
                    </a:lnTo>
                    <a:lnTo>
                      <a:pt x="370" y="204"/>
                    </a:lnTo>
                    <a:lnTo>
                      <a:pt x="370" y="204"/>
                    </a:lnTo>
                    <a:lnTo>
                      <a:pt x="378" y="204"/>
                    </a:lnTo>
                    <a:lnTo>
                      <a:pt x="384" y="198"/>
                    </a:lnTo>
                    <a:lnTo>
                      <a:pt x="388" y="192"/>
                    </a:lnTo>
                    <a:lnTo>
                      <a:pt x="390" y="184"/>
                    </a:lnTo>
                    <a:lnTo>
                      <a:pt x="390" y="20"/>
                    </a:lnTo>
                    <a:lnTo>
                      <a:pt x="390" y="20"/>
                    </a:lnTo>
                    <a:lnTo>
                      <a:pt x="388" y="12"/>
                    </a:lnTo>
                    <a:lnTo>
                      <a:pt x="384" y="6"/>
                    </a:lnTo>
                    <a:lnTo>
                      <a:pt x="378" y="0"/>
                    </a:lnTo>
                    <a:lnTo>
                      <a:pt x="370" y="0"/>
                    </a:lnTo>
                    <a:lnTo>
                      <a:pt x="37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Freeform 4867"/>
              <p:cNvSpPr>
                <a:spLocks/>
              </p:cNvSpPr>
              <p:nvPr/>
            </p:nvSpPr>
            <p:spPr bwMode="auto">
              <a:xfrm>
                <a:off x="7750966" y="2447941"/>
                <a:ext cx="65422" cy="67845"/>
              </a:xfrm>
              <a:custGeom>
                <a:avLst/>
                <a:gdLst>
                  <a:gd name="T0" fmla="*/ 54 w 54"/>
                  <a:gd name="T1" fmla="*/ 56 h 56"/>
                  <a:gd name="T2" fmla="*/ 0 w 54"/>
                  <a:gd name="T3" fmla="*/ 56 h 56"/>
                  <a:gd name="T4" fmla="*/ 54 w 54"/>
                  <a:gd name="T5" fmla="*/ 0 h 56"/>
                  <a:gd name="T6" fmla="*/ 54 w 54"/>
                  <a:gd name="T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56">
                    <a:moveTo>
                      <a:pt x="54" y="56"/>
                    </a:moveTo>
                    <a:lnTo>
                      <a:pt x="0" y="56"/>
                    </a:lnTo>
                    <a:lnTo>
                      <a:pt x="54" y="0"/>
                    </a:lnTo>
                    <a:lnTo>
                      <a:pt x="54" y="5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Freeform 4868"/>
              <p:cNvSpPr>
                <a:spLocks/>
              </p:cNvSpPr>
              <p:nvPr/>
            </p:nvSpPr>
            <p:spPr bwMode="auto">
              <a:xfrm>
                <a:off x="7947231" y="2452787"/>
                <a:ext cx="140535" cy="140535"/>
              </a:xfrm>
              <a:custGeom>
                <a:avLst/>
                <a:gdLst>
                  <a:gd name="T0" fmla="*/ 58 w 116"/>
                  <a:gd name="T1" fmla="*/ 116 h 116"/>
                  <a:gd name="T2" fmla="*/ 58 w 116"/>
                  <a:gd name="T3" fmla="*/ 116 h 116"/>
                  <a:gd name="T4" fmla="*/ 46 w 116"/>
                  <a:gd name="T5" fmla="*/ 114 h 116"/>
                  <a:gd name="T6" fmla="*/ 36 w 116"/>
                  <a:gd name="T7" fmla="*/ 112 h 116"/>
                  <a:gd name="T8" fmla="*/ 26 w 116"/>
                  <a:gd name="T9" fmla="*/ 106 h 116"/>
                  <a:gd name="T10" fmla="*/ 18 w 116"/>
                  <a:gd name="T11" fmla="*/ 100 h 116"/>
                  <a:gd name="T12" fmla="*/ 10 w 116"/>
                  <a:gd name="T13" fmla="*/ 90 h 116"/>
                  <a:gd name="T14" fmla="*/ 4 w 116"/>
                  <a:gd name="T15" fmla="*/ 80 h 116"/>
                  <a:gd name="T16" fmla="*/ 2 w 116"/>
                  <a:gd name="T17" fmla="*/ 70 h 116"/>
                  <a:gd name="T18" fmla="*/ 0 w 116"/>
                  <a:gd name="T19" fmla="*/ 58 h 116"/>
                  <a:gd name="T20" fmla="*/ 0 w 116"/>
                  <a:gd name="T21" fmla="*/ 58 h 116"/>
                  <a:gd name="T22" fmla="*/ 2 w 116"/>
                  <a:gd name="T23" fmla="*/ 46 h 116"/>
                  <a:gd name="T24" fmla="*/ 4 w 116"/>
                  <a:gd name="T25" fmla="*/ 36 h 116"/>
                  <a:gd name="T26" fmla="*/ 10 w 116"/>
                  <a:gd name="T27" fmla="*/ 26 h 116"/>
                  <a:gd name="T28" fmla="*/ 18 w 116"/>
                  <a:gd name="T29" fmla="*/ 18 h 116"/>
                  <a:gd name="T30" fmla="*/ 26 w 116"/>
                  <a:gd name="T31" fmla="*/ 10 h 116"/>
                  <a:gd name="T32" fmla="*/ 36 w 116"/>
                  <a:gd name="T33" fmla="*/ 6 h 116"/>
                  <a:gd name="T34" fmla="*/ 46 w 116"/>
                  <a:gd name="T35" fmla="*/ 2 h 116"/>
                  <a:gd name="T36" fmla="*/ 58 w 116"/>
                  <a:gd name="T37" fmla="*/ 0 h 116"/>
                  <a:gd name="T38" fmla="*/ 58 w 116"/>
                  <a:gd name="T39" fmla="*/ 0 h 116"/>
                  <a:gd name="T40" fmla="*/ 70 w 116"/>
                  <a:gd name="T41" fmla="*/ 2 h 116"/>
                  <a:gd name="T42" fmla="*/ 80 w 116"/>
                  <a:gd name="T43" fmla="*/ 6 h 116"/>
                  <a:gd name="T44" fmla="*/ 90 w 116"/>
                  <a:gd name="T45" fmla="*/ 10 h 116"/>
                  <a:gd name="T46" fmla="*/ 98 w 116"/>
                  <a:gd name="T47" fmla="*/ 18 h 116"/>
                  <a:gd name="T48" fmla="*/ 106 w 116"/>
                  <a:gd name="T49" fmla="*/ 26 h 116"/>
                  <a:gd name="T50" fmla="*/ 112 w 116"/>
                  <a:gd name="T51" fmla="*/ 36 h 116"/>
                  <a:gd name="T52" fmla="*/ 114 w 116"/>
                  <a:gd name="T53" fmla="*/ 46 h 116"/>
                  <a:gd name="T54" fmla="*/ 116 w 116"/>
                  <a:gd name="T55" fmla="*/ 58 h 116"/>
                  <a:gd name="T56" fmla="*/ 116 w 116"/>
                  <a:gd name="T57" fmla="*/ 58 h 116"/>
                  <a:gd name="T58" fmla="*/ 114 w 116"/>
                  <a:gd name="T59" fmla="*/ 70 h 116"/>
                  <a:gd name="T60" fmla="*/ 112 w 116"/>
                  <a:gd name="T61" fmla="*/ 80 h 116"/>
                  <a:gd name="T62" fmla="*/ 106 w 116"/>
                  <a:gd name="T63" fmla="*/ 90 h 116"/>
                  <a:gd name="T64" fmla="*/ 98 w 116"/>
                  <a:gd name="T65" fmla="*/ 100 h 116"/>
                  <a:gd name="T66" fmla="*/ 90 w 116"/>
                  <a:gd name="T67" fmla="*/ 106 h 116"/>
                  <a:gd name="T68" fmla="*/ 80 w 116"/>
                  <a:gd name="T69" fmla="*/ 112 h 116"/>
                  <a:gd name="T70" fmla="*/ 70 w 116"/>
                  <a:gd name="T71" fmla="*/ 114 h 116"/>
                  <a:gd name="T72" fmla="*/ 58 w 116"/>
                  <a:gd name="T73" fmla="*/ 116 h 116"/>
                  <a:gd name="T74" fmla="*/ 58 w 116"/>
                  <a:gd name="T75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6" h="116">
                    <a:moveTo>
                      <a:pt x="58" y="116"/>
                    </a:moveTo>
                    <a:lnTo>
                      <a:pt x="58" y="116"/>
                    </a:lnTo>
                    <a:lnTo>
                      <a:pt x="46" y="114"/>
                    </a:lnTo>
                    <a:lnTo>
                      <a:pt x="36" y="112"/>
                    </a:lnTo>
                    <a:lnTo>
                      <a:pt x="26" y="106"/>
                    </a:lnTo>
                    <a:lnTo>
                      <a:pt x="18" y="100"/>
                    </a:lnTo>
                    <a:lnTo>
                      <a:pt x="10" y="90"/>
                    </a:lnTo>
                    <a:lnTo>
                      <a:pt x="4" y="80"/>
                    </a:lnTo>
                    <a:lnTo>
                      <a:pt x="2" y="7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2" y="46"/>
                    </a:lnTo>
                    <a:lnTo>
                      <a:pt x="4" y="36"/>
                    </a:lnTo>
                    <a:lnTo>
                      <a:pt x="10" y="26"/>
                    </a:lnTo>
                    <a:lnTo>
                      <a:pt x="18" y="18"/>
                    </a:lnTo>
                    <a:lnTo>
                      <a:pt x="26" y="10"/>
                    </a:lnTo>
                    <a:lnTo>
                      <a:pt x="36" y="6"/>
                    </a:lnTo>
                    <a:lnTo>
                      <a:pt x="46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70" y="2"/>
                    </a:lnTo>
                    <a:lnTo>
                      <a:pt x="80" y="6"/>
                    </a:lnTo>
                    <a:lnTo>
                      <a:pt x="90" y="10"/>
                    </a:lnTo>
                    <a:lnTo>
                      <a:pt x="98" y="18"/>
                    </a:lnTo>
                    <a:lnTo>
                      <a:pt x="106" y="26"/>
                    </a:lnTo>
                    <a:lnTo>
                      <a:pt x="112" y="36"/>
                    </a:lnTo>
                    <a:lnTo>
                      <a:pt x="114" y="46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14" y="70"/>
                    </a:lnTo>
                    <a:lnTo>
                      <a:pt x="112" y="80"/>
                    </a:lnTo>
                    <a:lnTo>
                      <a:pt x="106" y="90"/>
                    </a:lnTo>
                    <a:lnTo>
                      <a:pt x="98" y="100"/>
                    </a:lnTo>
                    <a:lnTo>
                      <a:pt x="90" y="106"/>
                    </a:lnTo>
                    <a:lnTo>
                      <a:pt x="80" y="112"/>
                    </a:lnTo>
                    <a:lnTo>
                      <a:pt x="70" y="114"/>
                    </a:lnTo>
                    <a:lnTo>
                      <a:pt x="58" y="116"/>
                    </a:lnTo>
                    <a:lnTo>
                      <a:pt x="58" y="116"/>
                    </a:ln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Group 23"/>
          <p:cNvGrpSpPr/>
          <p:nvPr/>
        </p:nvGrpSpPr>
        <p:grpSpPr>
          <a:xfrm>
            <a:off x="7450183" y="2536993"/>
            <a:ext cx="459685" cy="459685"/>
            <a:chOff x="2342233" y="4690710"/>
            <a:chExt cx="612000" cy="612000"/>
          </a:xfrm>
        </p:grpSpPr>
        <p:sp>
          <p:nvSpPr>
            <p:cNvPr id="25" name="Oval 24"/>
            <p:cNvSpPr/>
            <p:nvPr/>
          </p:nvSpPr>
          <p:spPr bwMode="ltGray">
            <a:xfrm>
              <a:off x="2342233" y="4690710"/>
              <a:ext cx="612000" cy="612000"/>
            </a:xfrm>
            <a:prstGeom prst="ellipse">
              <a:avLst/>
            </a:prstGeom>
            <a:solidFill>
              <a:schemeClr val="accent1"/>
            </a:soli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Freeform 4985"/>
            <p:cNvSpPr>
              <a:spLocks noEditPoints="1"/>
            </p:cNvSpPr>
            <p:nvPr/>
          </p:nvSpPr>
          <p:spPr bwMode="auto">
            <a:xfrm>
              <a:off x="2454243" y="4848931"/>
              <a:ext cx="387981" cy="354033"/>
            </a:xfrm>
            <a:custGeom>
              <a:avLst/>
              <a:gdLst>
                <a:gd name="T0" fmla="*/ 282 w 320"/>
                <a:gd name="T1" fmla="*/ 112 h 292"/>
                <a:gd name="T2" fmla="*/ 294 w 320"/>
                <a:gd name="T3" fmla="*/ 114 h 292"/>
                <a:gd name="T4" fmla="*/ 308 w 320"/>
                <a:gd name="T5" fmla="*/ 120 h 292"/>
                <a:gd name="T6" fmla="*/ 320 w 320"/>
                <a:gd name="T7" fmla="*/ 138 h 292"/>
                <a:gd name="T8" fmla="*/ 320 w 320"/>
                <a:gd name="T9" fmla="*/ 196 h 292"/>
                <a:gd name="T10" fmla="*/ 320 w 320"/>
                <a:gd name="T11" fmla="*/ 202 h 292"/>
                <a:gd name="T12" fmla="*/ 316 w 320"/>
                <a:gd name="T13" fmla="*/ 214 h 292"/>
                <a:gd name="T14" fmla="*/ 304 w 320"/>
                <a:gd name="T15" fmla="*/ 228 h 292"/>
                <a:gd name="T16" fmla="*/ 282 w 320"/>
                <a:gd name="T17" fmla="*/ 234 h 292"/>
                <a:gd name="T18" fmla="*/ 252 w 320"/>
                <a:gd name="T19" fmla="*/ 234 h 292"/>
                <a:gd name="T20" fmla="*/ 260 w 320"/>
                <a:gd name="T21" fmla="*/ 264 h 292"/>
                <a:gd name="T22" fmla="*/ 272 w 320"/>
                <a:gd name="T23" fmla="*/ 286 h 292"/>
                <a:gd name="T24" fmla="*/ 278 w 320"/>
                <a:gd name="T25" fmla="*/ 292 h 292"/>
                <a:gd name="T26" fmla="*/ 254 w 320"/>
                <a:gd name="T27" fmla="*/ 278 h 292"/>
                <a:gd name="T28" fmla="*/ 234 w 320"/>
                <a:gd name="T29" fmla="*/ 260 h 292"/>
                <a:gd name="T30" fmla="*/ 218 w 320"/>
                <a:gd name="T31" fmla="*/ 234 h 292"/>
                <a:gd name="T32" fmla="*/ 198 w 320"/>
                <a:gd name="T33" fmla="*/ 234 h 292"/>
                <a:gd name="T34" fmla="*/ 186 w 320"/>
                <a:gd name="T35" fmla="*/ 232 h 292"/>
                <a:gd name="T36" fmla="*/ 172 w 320"/>
                <a:gd name="T37" fmla="*/ 224 h 292"/>
                <a:gd name="T38" fmla="*/ 162 w 320"/>
                <a:gd name="T39" fmla="*/ 208 h 292"/>
                <a:gd name="T40" fmla="*/ 160 w 320"/>
                <a:gd name="T41" fmla="*/ 150 h 292"/>
                <a:gd name="T42" fmla="*/ 160 w 320"/>
                <a:gd name="T43" fmla="*/ 144 h 292"/>
                <a:gd name="T44" fmla="*/ 164 w 320"/>
                <a:gd name="T45" fmla="*/ 130 h 292"/>
                <a:gd name="T46" fmla="*/ 176 w 320"/>
                <a:gd name="T47" fmla="*/ 118 h 292"/>
                <a:gd name="T48" fmla="*/ 198 w 320"/>
                <a:gd name="T49" fmla="*/ 112 h 292"/>
                <a:gd name="T50" fmla="*/ 140 w 320"/>
                <a:gd name="T51" fmla="*/ 150 h 292"/>
                <a:gd name="T52" fmla="*/ 142 w 320"/>
                <a:gd name="T53" fmla="*/ 142 h 292"/>
                <a:gd name="T54" fmla="*/ 148 w 320"/>
                <a:gd name="T55" fmla="*/ 122 h 292"/>
                <a:gd name="T56" fmla="*/ 162 w 320"/>
                <a:gd name="T57" fmla="*/ 104 h 292"/>
                <a:gd name="T58" fmla="*/ 184 w 320"/>
                <a:gd name="T59" fmla="*/ 94 h 292"/>
                <a:gd name="T60" fmla="*/ 282 w 320"/>
                <a:gd name="T61" fmla="*/ 92 h 292"/>
                <a:gd name="T62" fmla="*/ 288 w 320"/>
                <a:gd name="T63" fmla="*/ 94 h 292"/>
                <a:gd name="T64" fmla="*/ 288 w 320"/>
                <a:gd name="T65" fmla="*/ 52 h 292"/>
                <a:gd name="T66" fmla="*/ 286 w 320"/>
                <a:gd name="T67" fmla="*/ 36 h 292"/>
                <a:gd name="T68" fmla="*/ 276 w 320"/>
                <a:gd name="T69" fmla="*/ 16 h 292"/>
                <a:gd name="T70" fmla="*/ 254 w 320"/>
                <a:gd name="T71" fmla="*/ 2 h 292"/>
                <a:gd name="T72" fmla="*/ 236 w 320"/>
                <a:gd name="T73" fmla="*/ 0 h 292"/>
                <a:gd name="T74" fmla="*/ 52 w 320"/>
                <a:gd name="T75" fmla="*/ 0 h 292"/>
                <a:gd name="T76" fmla="*/ 34 w 320"/>
                <a:gd name="T77" fmla="*/ 2 h 292"/>
                <a:gd name="T78" fmla="*/ 16 w 320"/>
                <a:gd name="T79" fmla="*/ 12 h 292"/>
                <a:gd name="T80" fmla="*/ 2 w 320"/>
                <a:gd name="T81" fmla="*/ 34 h 292"/>
                <a:gd name="T82" fmla="*/ 0 w 320"/>
                <a:gd name="T83" fmla="*/ 52 h 292"/>
                <a:gd name="T84" fmla="*/ 0 w 320"/>
                <a:gd name="T85" fmla="*/ 112 h 292"/>
                <a:gd name="T86" fmla="*/ 2 w 320"/>
                <a:gd name="T87" fmla="*/ 130 h 292"/>
                <a:gd name="T88" fmla="*/ 12 w 320"/>
                <a:gd name="T89" fmla="*/ 148 h 292"/>
                <a:gd name="T90" fmla="*/ 34 w 320"/>
                <a:gd name="T91" fmla="*/ 162 h 292"/>
                <a:gd name="T92" fmla="*/ 52 w 320"/>
                <a:gd name="T93" fmla="*/ 164 h 292"/>
                <a:gd name="T94" fmla="*/ 64 w 320"/>
                <a:gd name="T95" fmla="*/ 164 h 292"/>
                <a:gd name="T96" fmla="*/ 54 w 320"/>
                <a:gd name="T97" fmla="*/ 206 h 292"/>
                <a:gd name="T98" fmla="*/ 44 w 320"/>
                <a:gd name="T99" fmla="*/ 226 h 292"/>
                <a:gd name="T100" fmla="*/ 30 w 320"/>
                <a:gd name="T101" fmla="*/ 244 h 292"/>
                <a:gd name="T102" fmla="*/ 40 w 320"/>
                <a:gd name="T103" fmla="*/ 240 h 292"/>
                <a:gd name="T104" fmla="*/ 62 w 320"/>
                <a:gd name="T105" fmla="*/ 226 h 292"/>
                <a:gd name="T106" fmla="*/ 90 w 320"/>
                <a:gd name="T107" fmla="*/ 200 h 292"/>
                <a:gd name="T108" fmla="*/ 110 w 320"/>
                <a:gd name="T109" fmla="*/ 164 h 292"/>
                <a:gd name="T110" fmla="*/ 140 w 320"/>
                <a:gd name="T111" fmla="*/ 15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292">
                  <a:moveTo>
                    <a:pt x="282" y="112"/>
                  </a:moveTo>
                  <a:lnTo>
                    <a:pt x="282" y="112"/>
                  </a:lnTo>
                  <a:lnTo>
                    <a:pt x="288" y="112"/>
                  </a:lnTo>
                  <a:lnTo>
                    <a:pt x="294" y="114"/>
                  </a:lnTo>
                  <a:lnTo>
                    <a:pt x="302" y="116"/>
                  </a:lnTo>
                  <a:lnTo>
                    <a:pt x="308" y="120"/>
                  </a:lnTo>
                  <a:lnTo>
                    <a:pt x="314" y="128"/>
                  </a:lnTo>
                  <a:lnTo>
                    <a:pt x="320" y="138"/>
                  </a:lnTo>
                  <a:lnTo>
                    <a:pt x="320" y="150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202"/>
                  </a:lnTo>
                  <a:lnTo>
                    <a:pt x="318" y="208"/>
                  </a:lnTo>
                  <a:lnTo>
                    <a:pt x="316" y="214"/>
                  </a:lnTo>
                  <a:lnTo>
                    <a:pt x="312" y="222"/>
                  </a:lnTo>
                  <a:lnTo>
                    <a:pt x="304" y="228"/>
                  </a:lnTo>
                  <a:lnTo>
                    <a:pt x="294" y="232"/>
                  </a:lnTo>
                  <a:lnTo>
                    <a:pt x="282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6" y="248"/>
                  </a:lnTo>
                  <a:lnTo>
                    <a:pt x="260" y="264"/>
                  </a:lnTo>
                  <a:lnTo>
                    <a:pt x="268" y="280"/>
                  </a:lnTo>
                  <a:lnTo>
                    <a:pt x="272" y="286"/>
                  </a:lnTo>
                  <a:lnTo>
                    <a:pt x="278" y="292"/>
                  </a:lnTo>
                  <a:lnTo>
                    <a:pt x="278" y="292"/>
                  </a:lnTo>
                  <a:lnTo>
                    <a:pt x="272" y="290"/>
                  </a:lnTo>
                  <a:lnTo>
                    <a:pt x="254" y="278"/>
                  </a:lnTo>
                  <a:lnTo>
                    <a:pt x="244" y="270"/>
                  </a:lnTo>
                  <a:lnTo>
                    <a:pt x="234" y="260"/>
                  </a:lnTo>
                  <a:lnTo>
                    <a:pt x="226" y="248"/>
                  </a:lnTo>
                  <a:lnTo>
                    <a:pt x="21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2" y="234"/>
                  </a:lnTo>
                  <a:lnTo>
                    <a:pt x="186" y="232"/>
                  </a:lnTo>
                  <a:lnTo>
                    <a:pt x="180" y="230"/>
                  </a:lnTo>
                  <a:lnTo>
                    <a:pt x="172" y="224"/>
                  </a:lnTo>
                  <a:lnTo>
                    <a:pt x="166" y="218"/>
                  </a:lnTo>
                  <a:lnTo>
                    <a:pt x="162" y="208"/>
                  </a:lnTo>
                  <a:lnTo>
                    <a:pt x="160" y="196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44"/>
                  </a:lnTo>
                  <a:lnTo>
                    <a:pt x="162" y="138"/>
                  </a:lnTo>
                  <a:lnTo>
                    <a:pt x="164" y="130"/>
                  </a:lnTo>
                  <a:lnTo>
                    <a:pt x="170" y="124"/>
                  </a:lnTo>
                  <a:lnTo>
                    <a:pt x="176" y="118"/>
                  </a:lnTo>
                  <a:lnTo>
                    <a:pt x="186" y="114"/>
                  </a:lnTo>
                  <a:lnTo>
                    <a:pt x="198" y="112"/>
                  </a:lnTo>
                  <a:lnTo>
                    <a:pt x="282" y="112"/>
                  </a:lnTo>
                  <a:close/>
                  <a:moveTo>
                    <a:pt x="140" y="150"/>
                  </a:moveTo>
                  <a:lnTo>
                    <a:pt x="140" y="150"/>
                  </a:lnTo>
                  <a:lnTo>
                    <a:pt x="142" y="142"/>
                  </a:lnTo>
                  <a:lnTo>
                    <a:pt x="144" y="132"/>
                  </a:lnTo>
                  <a:lnTo>
                    <a:pt x="148" y="122"/>
                  </a:lnTo>
                  <a:lnTo>
                    <a:pt x="154" y="112"/>
                  </a:lnTo>
                  <a:lnTo>
                    <a:pt x="162" y="104"/>
                  </a:lnTo>
                  <a:lnTo>
                    <a:pt x="172" y="98"/>
                  </a:lnTo>
                  <a:lnTo>
                    <a:pt x="184" y="94"/>
                  </a:lnTo>
                  <a:lnTo>
                    <a:pt x="198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88" y="94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8" y="44"/>
                  </a:lnTo>
                  <a:lnTo>
                    <a:pt x="286" y="36"/>
                  </a:lnTo>
                  <a:lnTo>
                    <a:pt x="282" y="26"/>
                  </a:lnTo>
                  <a:lnTo>
                    <a:pt x="276" y="16"/>
                  </a:lnTo>
                  <a:lnTo>
                    <a:pt x="266" y="8"/>
                  </a:lnTo>
                  <a:lnTo>
                    <a:pt x="254" y="2"/>
                  </a:lnTo>
                  <a:lnTo>
                    <a:pt x="246" y="0"/>
                  </a:lnTo>
                  <a:lnTo>
                    <a:pt x="2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4" y="2"/>
                  </a:lnTo>
                  <a:lnTo>
                    <a:pt x="26" y="6"/>
                  </a:lnTo>
                  <a:lnTo>
                    <a:pt x="16" y="12"/>
                  </a:lnTo>
                  <a:lnTo>
                    <a:pt x="8" y="22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20"/>
                  </a:lnTo>
                  <a:lnTo>
                    <a:pt x="2" y="130"/>
                  </a:lnTo>
                  <a:lnTo>
                    <a:pt x="6" y="138"/>
                  </a:lnTo>
                  <a:lnTo>
                    <a:pt x="12" y="148"/>
                  </a:lnTo>
                  <a:lnTo>
                    <a:pt x="22" y="156"/>
                  </a:lnTo>
                  <a:lnTo>
                    <a:pt x="34" y="162"/>
                  </a:lnTo>
                  <a:lnTo>
                    <a:pt x="42" y="164"/>
                  </a:lnTo>
                  <a:lnTo>
                    <a:pt x="52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0" y="186"/>
                  </a:lnTo>
                  <a:lnTo>
                    <a:pt x="54" y="206"/>
                  </a:lnTo>
                  <a:lnTo>
                    <a:pt x="50" y="218"/>
                  </a:lnTo>
                  <a:lnTo>
                    <a:pt x="44" y="226"/>
                  </a:lnTo>
                  <a:lnTo>
                    <a:pt x="38" y="236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40" y="240"/>
                  </a:lnTo>
                  <a:lnTo>
                    <a:pt x="50" y="234"/>
                  </a:lnTo>
                  <a:lnTo>
                    <a:pt x="62" y="226"/>
                  </a:lnTo>
                  <a:lnTo>
                    <a:pt x="76" y="214"/>
                  </a:lnTo>
                  <a:lnTo>
                    <a:pt x="90" y="200"/>
                  </a:lnTo>
                  <a:lnTo>
                    <a:pt x="102" y="184"/>
                  </a:lnTo>
                  <a:lnTo>
                    <a:pt x="110" y="164"/>
                  </a:lnTo>
                  <a:lnTo>
                    <a:pt x="140" y="164"/>
                  </a:lnTo>
                  <a:lnTo>
                    <a:pt x="140" y="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GB" sz="1799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9531" y="2716923"/>
            <a:ext cx="294629" cy="2817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91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4A51C5-97BD-4E9F-A07C-0DF61578F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>
                <a:solidFill>
                  <a:schemeClr val="tx1"/>
                </a:solidFill>
              </a:rPr>
              <a:t>Data Platform Product Council will provide a variety of perspective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0E1E91-AA21-41A9-A1CD-948CA835BE05}"/>
              </a:ext>
            </a:extLst>
          </p:cNvPr>
          <p:cNvSpPr/>
          <p:nvPr/>
        </p:nvSpPr>
        <p:spPr>
          <a:xfrm>
            <a:off x="892345" y="2028786"/>
            <a:ext cx="3188369" cy="2961864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43A125-88D2-4864-9A21-0EADD5F3D2AD}"/>
              </a:ext>
            </a:extLst>
          </p:cNvPr>
          <p:cNvSpPr/>
          <p:nvPr/>
        </p:nvSpPr>
        <p:spPr bwMode="gray">
          <a:xfrm>
            <a:off x="833491" y="1886236"/>
            <a:ext cx="3306077" cy="137160"/>
          </a:xfrm>
          <a:prstGeom prst="rect">
            <a:avLst/>
          </a:prstGeom>
          <a:solidFill>
            <a:schemeClr val="accent3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B7DE742-E6C4-42D5-8EF9-2D0B55C398E5}"/>
              </a:ext>
            </a:extLst>
          </p:cNvPr>
          <p:cNvSpPr/>
          <p:nvPr/>
        </p:nvSpPr>
        <p:spPr bwMode="gray">
          <a:xfrm>
            <a:off x="749168" y="1395189"/>
            <a:ext cx="3474720" cy="45586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rIns="0" rtlCol="0" anchor="ctr" anchorCtr="1"/>
          <a:lstStyle/>
          <a:p>
            <a:pPr algn="ctr" defTabSz="914126" eaLnBrk="0" hangingPunct="0">
              <a:lnSpc>
                <a:spcPct val="106000"/>
              </a:lnSpc>
              <a:defRPr/>
            </a:pPr>
            <a:r>
              <a:rPr lang="en-US" sz="1600" b="1">
                <a:latin typeface="+mj-lt"/>
              </a:rPr>
              <a:t>Operating Model Leader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A8426BD-9E55-4107-899D-82A39EDE047B}"/>
              </a:ext>
            </a:extLst>
          </p:cNvPr>
          <p:cNvSpPr txBox="1"/>
          <p:nvPr/>
        </p:nvSpPr>
        <p:spPr>
          <a:xfrm>
            <a:off x="1001201" y="2147451"/>
            <a:ext cx="3188369" cy="14743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1400" b="1">
                <a:cs typeface="Calibri" panose="020F0502020204030204" pitchFamily="34" charset="0"/>
              </a:rPr>
              <a:t>Executive Sponsor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>
                <a:cs typeface="Calibri" panose="020F0502020204030204" pitchFamily="34" charset="0"/>
              </a:rPr>
              <a:t>Jon Roberts (COO)</a:t>
            </a:r>
          </a:p>
          <a:p>
            <a:pPr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defRPr/>
            </a:pPr>
            <a:endParaRPr lang="en-US" sz="1400" b="1">
              <a:cs typeface="Calibri" panose="020F0502020204030204" pitchFamily="34" charset="0"/>
            </a:endParaRPr>
          </a:p>
          <a:p>
            <a:pPr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1400" b="1">
                <a:cs typeface="Calibri" panose="020F0502020204030204" pitchFamily="34" charset="0"/>
              </a:rPr>
              <a:t>Platform Leader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>
                <a:cs typeface="Calibri" panose="020F0502020204030204" pitchFamily="34" charset="0"/>
              </a:rPr>
              <a:t>Bob Darin (Chief Data Officer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9FC46E1-F9F8-4EF9-B578-283AABA499C2}"/>
              </a:ext>
            </a:extLst>
          </p:cNvPr>
          <p:cNvSpPr/>
          <p:nvPr/>
        </p:nvSpPr>
        <p:spPr bwMode="gray">
          <a:xfrm>
            <a:off x="833491" y="5400337"/>
            <a:ext cx="3306077" cy="78256"/>
          </a:xfrm>
          <a:prstGeom prst="rect">
            <a:avLst/>
          </a:prstGeom>
          <a:solidFill>
            <a:schemeClr val="accent3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4009D23-DF4C-4D7A-9880-91C72461BA9D}"/>
              </a:ext>
            </a:extLst>
          </p:cNvPr>
          <p:cNvSpPr/>
          <p:nvPr/>
        </p:nvSpPr>
        <p:spPr>
          <a:xfrm>
            <a:off x="4501817" y="2028786"/>
            <a:ext cx="3188369" cy="2961864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F0058F-0675-448D-83B5-5A1DBD97C0FC}"/>
              </a:ext>
            </a:extLst>
          </p:cNvPr>
          <p:cNvSpPr txBox="1"/>
          <p:nvPr/>
        </p:nvSpPr>
        <p:spPr>
          <a:xfrm>
            <a:off x="4610673" y="2147452"/>
            <a:ext cx="3188369" cy="2416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Retail</a:t>
            </a:r>
            <a:r>
              <a:rPr lang="en-US" sz="1400">
                <a:cs typeface="Calibri" panose="020F0502020204030204" pitchFamily="34" charset="0"/>
              </a:rPr>
              <a:t>: Karthik </a:t>
            </a:r>
            <a:r>
              <a:rPr lang="en-US" sz="1400" err="1">
                <a:cs typeface="Calibri" panose="020F0502020204030204" pitchFamily="34" charset="0"/>
              </a:rPr>
              <a:t>Kirubakaran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HCB</a:t>
            </a:r>
            <a:r>
              <a:rPr lang="en-US" sz="1400">
                <a:cs typeface="Calibri" panose="020F0502020204030204" pitchFamily="34" charset="0"/>
              </a:rPr>
              <a:t>: Paula Darin</a:t>
            </a: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PBM</a:t>
            </a:r>
            <a:r>
              <a:rPr lang="en-US" sz="1400">
                <a:cs typeface="Calibri" panose="020F0502020204030204" pitchFamily="34" charset="0"/>
              </a:rPr>
              <a:t>: </a:t>
            </a:r>
            <a:r>
              <a:rPr lang="en-US" sz="1400" err="1">
                <a:cs typeface="Calibri" panose="020F0502020204030204" pitchFamily="34" charset="0"/>
              </a:rPr>
              <a:t>Navaneet</a:t>
            </a:r>
            <a:r>
              <a:rPr lang="en-US" sz="1400">
                <a:cs typeface="Calibri" panose="020F0502020204030204" pitchFamily="34" charset="0"/>
              </a:rPr>
              <a:t> </a:t>
            </a:r>
            <a:r>
              <a:rPr lang="en-US" sz="1400" err="1">
                <a:cs typeface="Calibri" panose="020F0502020204030204" pitchFamily="34" charset="0"/>
              </a:rPr>
              <a:t>Barathalwar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Analytics</a:t>
            </a:r>
            <a:r>
              <a:rPr lang="en-US" sz="1400">
                <a:cs typeface="Calibri" panose="020F0502020204030204" pitchFamily="34" charset="0"/>
              </a:rPr>
              <a:t>: Shyam </a:t>
            </a:r>
            <a:r>
              <a:rPr lang="en-US" sz="1400" err="1">
                <a:cs typeface="Calibri" panose="020F0502020204030204" pitchFamily="34" charset="0"/>
              </a:rPr>
              <a:t>Munjuluri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Clinical</a:t>
            </a:r>
            <a:r>
              <a:rPr lang="en-US" sz="1400">
                <a:cs typeface="Calibri" panose="020F0502020204030204" pitchFamily="34" charset="0"/>
              </a:rPr>
              <a:t> </a:t>
            </a:r>
            <a:r>
              <a:rPr lang="en-US" sz="1400" b="1">
                <a:cs typeface="Calibri" panose="020F0502020204030204" pitchFamily="34" charset="0"/>
              </a:rPr>
              <a:t>Informatics</a:t>
            </a:r>
            <a:r>
              <a:rPr lang="en-US" sz="1400">
                <a:cs typeface="Calibri" panose="020F0502020204030204" pitchFamily="34" charset="0"/>
              </a:rPr>
              <a:t>: Jim Murray</a:t>
            </a: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Digital</a:t>
            </a:r>
            <a:r>
              <a:rPr lang="en-US" sz="1400">
                <a:cs typeface="Calibri" panose="020F0502020204030204" pitchFamily="34" charset="0"/>
              </a:rPr>
              <a:t>: Zoltan </a:t>
            </a:r>
            <a:r>
              <a:rPr lang="en-US" sz="1400" err="1">
                <a:cs typeface="Calibri" panose="020F0502020204030204" pitchFamily="34" charset="0"/>
              </a:rPr>
              <a:t>Poleretzky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Legal</a:t>
            </a:r>
            <a:r>
              <a:rPr lang="en-US" sz="1400">
                <a:cs typeface="Calibri" panose="020F0502020204030204" pitchFamily="34" charset="0"/>
              </a:rPr>
              <a:t>: Anna </a:t>
            </a:r>
            <a:r>
              <a:rPr lang="en-US" sz="1400" err="1">
                <a:cs typeface="Calibri" panose="020F0502020204030204" pitchFamily="34" charset="0"/>
              </a:rPr>
              <a:t>Shimanek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solidFill>
                  <a:srgbClr val="000000"/>
                </a:solidFill>
                <a:cs typeface="Calibri" panose="020F0502020204030204" pitchFamily="34" charset="0"/>
              </a:rPr>
              <a:t>Transformation</a:t>
            </a:r>
            <a:r>
              <a:rPr lang="en-US" sz="1400">
                <a:solidFill>
                  <a:srgbClr val="000000"/>
                </a:solidFill>
                <a:cs typeface="Calibri" panose="020F0502020204030204" pitchFamily="34" charset="0"/>
              </a:rPr>
              <a:t>: Yasin </a:t>
            </a:r>
            <a:r>
              <a:rPr lang="en-US" sz="1400" err="1">
                <a:solidFill>
                  <a:srgbClr val="000000"/>
                </a:solidFill>
                <a:cs typeface="Calibri" panose="020F0502020204030204" pitchFamily="34" charset="0"/>
              </a:rPr>
              <a:t>Turkcan</a:t>
            </a:r>
            <a:endParaRPr lang="en-US" sz="140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789F3F-05FB-442E-B112-DF6CC59090A4}"/>
              </a:ext>
            </a:extLst>
          </p:cNvPr>
          <p:cNvSpPr/>
          <p:nvPr/>
        </p:nvSpPr>
        <p:spPr bwMode="gray">
          <a:xfrm>
            <a:off x="4442963" y="1886236"/>
            <a:ext cx="3306077" cy="137160"/>
          </a:xfrm>
          <a:prstGeom prst="rect">
            <a:avLst/>
          </a:prstGeom>
          <a:solidFill>
            <a:schemeClr val="accent2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4CCB600-7B07-46F3-AC19-625604F18334}"/>
              </a:ext>
            </a:extLst>
          </p:cNvPr>
          <p:cNvSpPr/>
          <p:nvPr/>
        </p:nvSpPr>
        <p:spPr bwMode="gray">
          <a:xfrm>
            <a:off x="4358640" y="1395189"/>
            <a:ext cx="3474720" cy="45586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algn="ctr" defTabSz="914126" eaLnBrk="0" hangingPunct="0">
              <a:lnSpc>
                <a:spcPct val="106000"/>
              </a:lnSpc>
              <a:defRPr/>
            </a:pPr>
            <a:r>
              <a:rPr lang="en-US" sz="1600" b="1">
                <a:latin typeface="+mj-lt"/>
              </a:rPr>
              <a:t>Platform Product </a:t>
            </a:r>
          </a:p>
          <a:p>
            <a:pPr algn="ctr" defTabSz="914126" eaLnBrk="0" hangingPunct="0">
              <a:lnSpc>
                <a:spcPct val="106000"/>
              </a:lnSpc>
              <a:defRPr/>
            </a:pPr>
            <a:r>
              <a:rPr lang="en-US" sz="1600" b="1">
                <a:latin typeface="+mj-lt"/>
              </a:rPr>
              <a:t>Council Member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6CAF5F8-07C8-4D46-9C46-050DB2109C3F}"/>
              </a:ext>
            </a:extLst>
          </p:cNvPr>
          <p:cNvSpPr/>
          <p:nvPr/>
        </p:nvSpPr>
        <p:spPr bwMode="gray">
          <a:xfrm>
            <a:off x="4442963" y="5400337"/>
            <a:ext cx="3306077" cy="78256"/>
          </a:xfrm>
          <a:prstGeom prst="rect">
            <a:avLst/>
          </a:prstGeom>
          <a:solidFill>
            <a:schemeClr val="accent2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633EE67-56AB-436C-BAC9-5D83C1E70475}"/>
              </a:ext>
            </a:extLst>
          </p:cNvPr>
          <p:cNvSpPr/>
          <p:nvPr/>
        </p:nvSpPr>
        <p:spPr>
          <a:xfrm>
            <a:off x="8111290" y="2028786"/>
            <a:ext cx="3188369" cy="2961864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D7B44C1-786B-47A5-8173-B1CE7FB2B4FF}"/>
              </a:ext>
            </a:extLst>
          </p:cNvPr>
          <p:cNvSpPr/>
          <p:nvPr/>
        </p:nvSpPr>
        <p:spPr bwMode="gray">
          <a:xfrm>
            <a:off x="8052436" y="1886236"/>
            <a:ext cx="3306077" cy="137160"/>
          </a:xfrm>
          <a:prstGeom prst="rect">
            <a:avLst/>
          </a:prstGeom>
          <a:solidFill>
            <a:schemeClr val="accent1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88C5E2-DF6A-48D1-AB7F-81D7C8D6F314}"/>
              </a:ext>
            </a:extLst>
          </p:cNvPr>
          <p:cNvSpPr/>
          <p:nvPr/>
        </p:nvSpPr>
        <p:spPr bwMode="gray">
          <a:xfrm>
            <a:off x="7968113" y="1395189"/>
            <a:ext cx="3474720" cy="45586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algn="ctr" defTabSz="914126" eaLnBrk="0" hangingPunct="0">
              <a:lnSpc>
                <a:spcPct val="106000"/>
              </a:lnSpc>
              <a:defRPr/>
            </a:pPr>
            <a:r>
              <a:rPr lang="en-US" sz="1600" b="1">
                <a:latin typeface="+mj-lt"/>
              </a:rPr>
              <a:t>Technology Stakeholder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60F149C-8B27-44D5-886C-48E372B61C7C}"/>
              </a:ext>
            </a:extLst>
          </p:cNvPr>
          <p:cNvSpPr txBox="1"/>
          <p:nvPr/>
        </p:nvSpPr>
        <p:spPr>
          <a:xfrm>
            <a:off x="8220146" y="2147452"/>
            <a:ext cx="3188369" cy="33003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1400" b="1">
                <a:cs typeface="Calibri" panose="020F0502020204030204" pitchFamily="34" charset="0"/>
              </a:rPr>
              <a:t>Technology Delivery Team</a:t>
            </a: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/>
              <a:t>VP </a:t>
            </a:r>
            <a:r>
              <a:rPr lang="en-US" sz="1400" b="1">
                <a:cs typeface="Calibri" panose="020F0502020204030204" pitchFamily="34" charset="0"/>
              </a:rPr>
              <a:t>of IEI: </a:t>
            </a:r>
            <a:r>
              <a:rPr lang="en-US" sz="1400">
                <a:cs typeface="Calibri" panose="020F0502020204030204" pitchFamily="34" charset="0"/>
              </a:rPr>
              <a:t>Bobby</a:t>
            </a:r>
            <a:r>
              <a:rPr lang="en-US" sz="1400" b="1">
                <a:cs typeface="Calibri" panose="020F0502020204030204" pitchFamily="34" charset="0"/>
              </a:rPr>
              <a:t> </a:t>
            </a:r>
            <a:r>
              <a:rPr lang="en-US" sz="1400" err="1">
                <a:cs typeface="Calibri" panose="020F0502020204030204" pitchFamily="34" charset="0"/>
              </a:rPr>
              <a:t>Mukundun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Data Platform IT Delivery: </a:t>
            </a:r>
            <a:r>
              <a:rPr lang="en-US" sz="1400">
                <a:cs typeface="Calibri" panose="020F0502020204030204" pitchFamily="34" charset="0"/>
              </a:rPr>
              <a:t>Carmen</a:t>
            </a:r>
            <a:r>
              <a:rPr lang="en-US" sz="1400" b="1">
                <a:cs typeface="Calibri" panose="020F0502020204030204" pitchFamily="34" charset="0"/>
              </a:rPr>
              <a:t> </a:t>
            </a:r>
            <a:r>
              <a:rPr lang="en-US" sz="1400" err="1">
                <a:cs typeface="Calibri" panose="020F0502020204030204" pitchFamily="34" charset="0"/>
              </a:rPr>
              <a:t>Malangone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HCB: </a:t>
            </a:r>
            <a:r>
              <a:rPr lang="en-US" sz="1400">
                <a:cs typeface="Calibri" panose="020F0502020204030204" pitchFamily="34" charset="0"/>
              </a:rPr>
              <a:t>Kathy</a:t>
            </a:r>
            <a:r>
              <a:rPr lang="en-US" sz="1400" b="1">
                <a:cs typeface="Calibri" panose="020F0502020204030204" pitchFamily="34" charset="0"/>
              </a:rPr>
              <a:t> </a:t>
            </a:r>
            <a:r>
              <a:rPr lang="en-US" sz="1400" err="1">
                <a:cs typeface="Calibri" panose="020F0502020204030204" pitchFamily="34" charset="0"/>
              </a:rPr>
              <a:t>Kadziolka</a:t>
            </a:r>
            <a:endParaRPr lang="en-US" sz="1400">
              <a:cs typeface="Calibri" panose="020F0502020204030204" pitchFamily="34" charset="0"/>
            </a:endParaRP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Retail: </a:t>
            </a:r>
            <a:r>
              <a:rPr lang="en-US" sz="1400">
                <a:cs typeface="Calibri" panose="020F0502020204030204" pitchFamily="34" charset="0"/>
              </a:rPr>
              <a:t>Ray</a:t>
            </a:r>
            <a:r>
              <a:rPr lang="en-US" sz="1400" b="1">
                <a:cs typeface="Calibri" panose="020F0502020204030204" pitchFamily="34" charset="0"/>
              </a:rPr>
              <a:t> </a:t>
            </a:r>
            <a:r>
              <a:rPr lang="en-US" sz="1400">
                <a:cs typeface="Calibri" panose="020F0502020204030204" pitchFamily="34" charset="0"/>
              </a:rPr>
              <a:t>Auger</a:t>
            </a:r>
            <a:r>
              <a:rPr lang="en-US" sz="1400" b="1">
                <a:cs typeface="Calibri" panose="020F0502020204030204" pitchFamily="34" charset="0"/>
              </a:rPr>
              <a:t> </a:t>
            </a:r>
          </a:p>
          <a:p>
            <a:pPr marL="171450" indent="-171450" defTabSz="914126">
              <a:lnSpc>
                <a:spcPct val="11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PBM: </a:t>
            </a:r>
            <a:r>
              <a:rPr lang="en-US" sz="1400" err="1">
                <a:cs typeface="Calibri" panose="020F0502020204030204" pitchFamily="34" charset="0"/>
              </a:rPr>
              <a:t>Ajoy</a:t>
            </a:r>
            <a:r>
              <a:rPr lang="en-US" sz="1400" b="1">
                <a:cs typeface="Calibri" panose="020F0502020204030204" pitchFamily="34" charset="0"/>
              </a:rPr>
              <a:t> </a:t>
            </a:r>
            <a:r>
              <a:rPr lang="en-US" sz="1400">
                <a:cs typeface="Calibri" panose="020F0502020204030204" pitchFamily="34" charset="0"/>
              </a:rPr>
              <a:t>Kodali</a:t>
            </a:r>
          </a:p>
          <a:p>
            <a:pPr defTabSz="914126">
              <a:spcAft>
                <a:spcPts val="200"/>
              </a:spcAft>
              <a:buClr>
                <a:schemeClr val="tx1"/>
              </a:buClr>
              <a:defRPr/>
            </a:pPr>
            <a:endParaRPr lang="en-US" sz="1400">
              <a:cs typeface="Calibri" panose="020F0502020204030204" pitchFamily="34" charset="0"/>
            </a:endParaRPr>
          </a:p>
          <a:p>
            <a:pPr defTabSz="914126">
              <a:spcAft>
                <a:spcPts val="200"/>
              </a:spcAft>
              <a:buClr>
                <a:schemeClr val="tx1"/>
              </a:buClr>
              <a:defRPr/>
            </a:pPr>
            <a:r>
              <a:rPr lang="en-US" sz="1400" b="1">
                <a:cs typeface="Calibri" panose="020F0502020204030204" pitchFamily="34" charset="0"/>
              </a:rPr>
              <a:t>Enterprise Architecture</a:t>
            </a:r>
          </a:p>
          <a:p>
            <a:pPr marL="171450" indent="-171450" defTabSz="914126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>
                <a:cs typeface="Calibri" panose="020F0502020204030204" pitchFamily="34" charset="0"/>
              </a:rPr>
              <a:t>O-CTO: </a:t>
            </a:r>
            <a:r>
              <a:rPr lang="en-US" sz="1400">
                <a:cs typeface="Calibri" panose="020F0502020204030204" pitchFamily="34" charset="0"/>
              </a:rPr>
              <a:t>Joe Arnold, Kathy Filkins</a:t>
            </a:r>
            <a:endParaRPr lang="en-US" sz="1400" b="1">
              <a:cs typeface="Calibri" panose="020F0502020204030204" pitchFamily="34" charset="0"/>
            </a:endParaRPr>
          </a:p>
          <a:p>
            <a:pPr marL="171450" indent="-171450" defTabSz="914126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>
                <a:cs typeface="Calibri" panose="020F0502020204030204" pitchFamily="34" charset="0"/>
              </a:rPr>
              <a:t>Claudette Hickey</a:t>
            </a:r>
          </a:p>
          <a:p>
            <a:pPr marL="171450" indent="-171450" defTabSz="914126"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>
                <a:cs typeface="Calibri" panose="020F0502020204030204" pitchFamily="34" charset="0"/>
              </a:rPr>
              <a:t>Dale </a:t>
            </a:r>
            <a:r>
              <a:rPr lang="en-US" sz="1400" err="1">
                <a:cs typeface="Calibri" panose="020F0502020204030204" pitchFamily="34" charset="0"/>
              </a:rPr>
              <a:t>Ianni</a:t>
            </a:r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87E6D56-E39D-4F1D-864D-F86C7A657B80}"/>
              </a:ext>
            </a:extLst>
          </p:cNvPr>
          <p:cNvSpPr/>
          <p:nvPr/>
        </p:nvSpPr>
        <p:spPr bwMode="gray">
          <a:xfrm>
            <a:off x="8052436" y="5400337"/>
            <a:ext cx="3306077" cy="78256"/>
          </a:xfrm>
          <a:prstGeom prst="rect">
            <a:avLst/>
          </a:prstGeom>
          <a:solidFill>
            <a:schemeClr val="accent1">
              <a:alpha val="9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45708" rIns="45708" rtlCol="0" anchor="ctr" anchorCtr="1"/>
          <a:lstStyle/>
          <a:p>
            <a:pPr defTabSz="914126" eaLnBrk="0" hangingPunct="0">
              <a:lnSpc>
                <a:spcPct val="106000"/>
              </a:lnSpc>
              <a:defRPr/>
            </a:pPr>
            <a:endParaRPr lang="en-US" sz="1600" b="1" spc="3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846061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2B7D9-F019-4DE2-A144-B6962153D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ata Platform Operating Model Overview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32DF73-E2F0-44C9-A421-FE373DAEB24C}"/>
              </a:ext>
            </a:extLst>
          </p:cNvPr>
          <p:cNvSpPr/>
          <p:nvPr/>
        </p:nvSpPr>
        <p:spPr bwMode="gray">
          <a:xfrm>
            <a:off x="1583081" y="2749794"/>
            <a:ext cx="4383800" cy="624249"/>
          </a:xfrm>
          <a:prstGeom prst="rect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274249" rtlCol="0" anchor="ctr"/>
          <a:lstStyle/>
          <a:p>
            <a:pPr algn="ctr" defTabSz="914126">
              <a:defRPr/>
            </a:pPr>
            <a:r>
              <a:rPr lang="en-US" sz="1400" b="1">
                <a:solidFill>
                  <a:prstClr val="white"/>
                </a:solidFill>
                <a:latin typeface="Arial"/>
              </a:rPr>
              <a:t>Data Plann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B419D6-D313-4562-A511-DFA44AD87E35}"/>
              </a:ext>
            </a:extLst>
          </p:cNvPr>
          <p:cNvSpPr/>
          <p:nvPr/>
        </p:nvSpPr>
        <p:spPr bwMode="gray">
          <a:xfrm>
            <a:off x="5966880" y="2749794"/>
            <a:ext cx="4823018" cy="632921"/>
          </a:xfrm>
          <a:prstGeom prst="rect">
            <a:avLst/>
          </a:prstGeom>
          <a:solidFill>
            <a:schemeClr val="accent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274249" rtlCol="0" anchor="ctr"/>
          <a:lstStyle/>
          <a:p>
            <a:pPr algn="ctr" defTabSz="457063">
              <a:defRPr/>
            </a:pPr>
            <a:r>
              <a:rPr lang="en-US" sz="1400" b="1">
                <a:solidFill>
                  <a:schemeClr val="bg1"/>
                </a:solidFill>
              </a:rPr>
              <a:t>Data Platform Services &amp;Technology </a:t>
            </a:r>
            <a:endParaRPr lang="en-US" sz="12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2D1EB7-C00C-4B1A-81BD-0A6A41BC5DCA}"/>
              </a:ext>
            </a:extLst>
          </p:cNvPr>
          <p:cNvSpPr txBox="1"/>
          <p:nvPr/>
        </p:nvSpPr>
        <p:spPr>
          <a:xfrm>
            <a:off x="85870" y="2912893"/>
            <a:ext cx="1045818" cy="430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126">
              <a:defRPr/>
            </a:pPr>
            <a:r>
              <a:rPr lang="en-US" sz="1400">
                <a:solidFill>
                  <a:srgbClr val="646464"/>
                </a:solidFill>
                <a:latin typeface="Arial"/>
              </a:rPr>
              <a:t>Capability Grou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7D8C0E-BEF2-4EE5-BA5A-9A312835D30B}"/>
              </a:ext>
            </a:extLst>
          </p:cNvPr>
          <p:cNvSpPr/>
          <p:nvPr/>
        </p:nvSpPr>
        <p:spPr bwMode="gray">
          <a:xfrm>
            <a:off x="1578227" y="692941"/>
            <a:ext cx="9211673" cy="2049932"/>
          </a:xfrm>
          <a:prstGeom prst="rect">
            <a:avLst/>
          </a:prstGeom>
          <a:solidFill>
            <a:schemeClr val="accent5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126">
              <a:defRPr/>
            </a:pPr>
            <a:r>
              <a:rPr lang="en-US" sz="1400" b="1">
                <a:solidFill>
                  <a:prstClr val="white"/>
                </a:solidFill>
                <a:latin typeface="Arial"/>
              </a:rPr>
              <a:t>Platform Product Council</a:t>
            </a:r>
          </a:p>
          <a:p>
            <a:pPr algn="ctr" defTabSz="914126">
              <a:defRPr/>
            </a:pPr>
            <a:endParaRPr lang="en-US" sz="1400" b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8520038-B3CD-4BEC-BBD2-FFA20791D54E}"/>
              </a:ext>
            </a:extLst>
          </p:cNvPr>
          <p:cNvSpPr/>
          <p:nvPr/>
        </p:nvSpPr>
        <p:spPr bwMode="gray">
          <a:xfrm>
            <a:off x="1565976" y="3429001"/>
            <a:ext cx="4383800" cy="2199641"/>
          </a:xfrm>
          <a:prstGeom prst="rect">
            <a:avLst/>
          </a:prstGeom>
          <a:noFill/>
          <a:ln w="19050">
            <a:solidFill>
              <a:srgbClr val="E94D4D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3852"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defRPr/>
            </a:pPr>
            <a:endParaRPr lang="en-US" sz="1200" b="1">
              <a:solidFill>
                <a:srgbClr val="646464"/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F711A80-4F74-4B7F-A510-BDF99C9C5566}"/>
              </a:ext>
            </a:extLst>
          </p:cNvPr>
          <p:cNvSpPr/>
          <p:nvPr/>
        </p:nvSpPr>
        <p:spPr bwMode="gray">
          <a:xfrm>
            <a:off x="5966882" y="3429001"/>
            <a:ext cx="4855241" cy="2221259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32" rtlCol="0" anchor="t"/>
          <a:lstStyle/>
          <a:p>
            <a:pPr algn="ctr" defTabSz="914126">
              <a:defRPr/>
            </a:pPr>
            <a:endParaRPr lang="en-US" sz="1200" b="1">
              <a:solidFill>
                <a:srgbClr val="646464"/>
              </a:solidFill>
              <a:latin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8C1BF35-AE75-4A36-BAA8-A434BA42C918}"/>
              </a:ext>
            </a:extLst>
          </p:cNvPr>
          <p:cNvSpPr txBox="1"/>
          <p:nvPr/>
        </p:nvSpPr>
        <p:spPr>
          <a:xfrm>
            <a:off x="1744108" y="1093914"/>
            <a:ext cx="2038083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 b="1" u="sng">
                <a:solidFill>
                  <a:prstClr val="white"/>
                </a:solidFill>
                <a:latin typeface="Arial"/>
              </a:rPr>
              <a:t>Product Council Lead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193FF41-9161-4134-A6F8-B77A35E7DA65}"/>
              </a:ext>
            </a:extLst>
          </p:cNvPr>
          <p:cNvSpPr txBox="1"/>
          <p:nvPr/>
        </p:nvSpPr>
        <p:spPr>
          <a:xfrm>
            <a:off x="1744107" y="1384446"/>
            <a:ext cx="2308270" cy="3692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Bob Darin (Chief Data Officer)        </a:t>
            </a:r>
          </a:p>
          <a:p>
            <a:pPr defTabSz="914126"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Kathy Kadziolka (VP of Products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4CEA164-A05F-4BA2-B35F-B3C262457548}"/>
              </a:ext>
            </a:extLst>
          </p:cNvPr>
          <p:cNvSpPr txBox="1"/>
          <p:nvPr/>
        </p:nvSpPr>
        <p:spPr>
          <a:xfrm>
            <a:off x="4171871" y="1108426"/>
            <a:ext cx="2895713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 b="1" u="sng">
                <a:solidFill>
                  <a:prstClr val="white"/>
                </a:solidFill>
                <a:latin typeface="Arial"/>
              </a:rPr>
              <a:t>Business Member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03CD52F-46E3-47E2-98FF-369136226F4C}"/>
              </a:ext>
            </a:extLst>
          </p:cNvPr>
          <p:cNvSpPr txBox="1"/>
          <p:nvPr/>
        </p:nvSpPr>
        <p:spPr>
          <a:xfrm>
            <a:off x="4171870" y="1308710"/>
            <a:ext cx="2445042" cy="1405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Retail: Karthik Kirubakaran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HCB: Paula Darin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PBM: Navaneet Barathalwar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Analytics: Shyam </a:t>
            </a:r>
            <a:r>
              <a:rPr lang="en-US" sz="1200" err="1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Munjuluri</a:t>
            </a:r>
            <a:endParaRPr lang="en-US" sz="1200">
              <a:solidFill>
                <a:prstClr val="white"/>
              </a:solidFill>
              <a:latin typeface="Arial"/>
              <a:cs typeface="Calibri" panose="020F0502020204030204" pitchFamily="34" charset="0"/>
            </a:endParaRP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Clinical Informatics: Jim Murray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Digital: Zoltan </a:t>
            </a:r>
            <a:r>
              <a:rPr lang="en-US" sz="1200" err="1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Poleretzky</a:t>
            </a:r>
            <a:endParaRPr lang="en-US" sz="1200">
              <a:solidFill>
                <a:prstClr val="white"/>
              </a:solidFill>
              <a:latin typeface="Arial"/>
              <a:cs typeface="Calibri" panose="020F0502020204030204" pitchFamily="34" charset="0"/>
            </a:endParaRP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Legal: Anna Shimanek</a:t>
            </a:r>
            <a:endParaRPr lang="en-US" sz="1200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31111BC-FE67-4D75-A77A-67082B0435C5}"/>
              </a:ext>
            </a:extLst>
          </p:cNvPr>
          <p:cNvSpPr txBox="1"/>
          <p:nvPr/>
        </p:nvSpPr>
        <p:spPr>
          <a:xfrm>
            <a:off x="6660472" y="1093914"/>
            <a:ext cx="2038082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 u="sng">
                <a:solidFill>
                  <a:prstClr val="white"/>
                </a:solidFill>
                <a:latin typeface="Arial"/>
              </a:rPr>
              <a:t>Technology Delivery Tea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A0ABC28-C38B-45B5-AF5C-5798BB9ECB97}"/>
              </a:ext>
            </a:extLst>
          </p:cNvPr>
          <p:cNvSpPr txBox="1"/>
          <p:nvPr/>
        </p:nvSpPr>
        <p:spPr>
          <a:xfrm>
            <a:off x="9092873" y="1093914"/>
            <a:ext cx="180942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 b="1" u="sng">
                <a:solidFill>
                  <a:prstClr val="white"/>
                </a:solidFill>
                <a:latin typeface="Arial"/>
              </a:rPr>
              <a:t>Enterprise Architect(s)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Claudette Hickey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Dale Ianni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Kathy Filkins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Ray Auger</a:t>
            </a:r>
          </a:p>
          <a:p>
            <a:pPr defTabSz="914126">
              <a:defRPr/>
            </a:pPr>
            <a:endParaRPr lang="en-US" sz="1200">
              <a:solidFill>
                <a:prstClr val="white"/>
              </a:solidFill>
              <a:latin typeface="Arial"/>
            </a:endParaRPr>
          </a:p>
        </p:txBody>
      </p:sp>
      <p:sp>
        <p:nvSpPr>
          <p:cNvPr id="64" name="Left Brace 63">
            <a:extLst>
              <a:ext uri="{FF2B5EF4-FFF2-40B4-BE49-F238E27FC236}">
                <a16:creationId xmlns:a16="http://schemas.microsoft.com/office/drawing/2014/main" id="{E4DE50BB-9059-411A-A8A5-62F5968CCB46}"/>
              </a:ext>
            </a:extLst>
          </p:cNvPr>
          <p:cNvSpPr/>
          <p:nvPr/>
        </p:nvSpPr>
        <p:spPr>
          <a:xfrm>
            <a:off x="1178322" y="2805485"/>
            <a:ext cx="306641" cy="646325"/>
          </a:xfrm>
          <a:prstGeom prst="leftBrace">
            <a:avLst>
              <a:gd name="adj1" fmla="val 13120"/>
              <a:gd name="adj2" fmla="val 50000"/>
            </a:avLst>
          </a:prstGeom>
          <a:ln w="127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9C3E4A6-E1A3-4E23-8E95-695C3705B828}"/>
              </a:ext>
            </a:extLst>
          </p:cNvPr>
          <p:cNvSpPr/>
          <p:nvPr/>
        </p:nvSpPr>
        <p:spPr>
          <a:xfrm>
            <a:off x="2043120" y="3124042"/>
            <a:ext cx="3621376" cy="261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US" sz="1100" i="1">
                <a:solidFill>
                  <a:prstClr val="white"/>
                </a:solidFill>
                <a:latin typeface="Arial"/>
              </a:rPr>
              <a:t>Owner(s):  Dawn Shane &amp; </a:t>
            </a:r>
            <a:r>
              <a:rPr lang="en-US" sz="1100" i="1" err="1">
                <a:solidFill>
                  <a:prstClr val="white"/>
                </a:solidFill>
                <a:latin typeface="Arial"/>
              </a:rPr>
              <a:t>Navanet</a:t>
            </a:r>
            <a:r>
              <a:rPr lang="en-US" sz="1100" i="1">
                <a:solidFill>
                  <a:prstClr val="white"/>
                </a:solidFill>
                <a:latin typeface="Arial"/>
              </a:rPr>
              <a:t> </a:t>
            </a:r>
            <a:r>
              <a:rPr lang="en-US" sz="1100" i="1" err="1">
                <a:solidFill>
                  <a:prstClr val="white"/>
                </a:solidFill>
                <a:latin typeface="Arial"/>
              </a:rPr>
              <a:t>Barthalwar</a:t>
            </a:r>
            <a:r>
              <a:rPr lang="en-US" sz="1100" i="1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E0C28F9-6B4D-4A8B-9BA4-359CB0FD3208}"/>
              </a:ext>
            </a:extLst>
          </p:cNvPr>
          <p:cNvSpPr/>
          <p:nvPr/>
        </p:nvSpPr>
        <p:spPr>
          <a:xfrm>
            <a:off x="6411176" y="3109610"/>
            <a:ext cx="3360943" cy="5384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100" i="1">
                <a:solidFill>
                  <a:prstClr val="white"/>
                </a:solidFill>
                <a:latin typeface="Arial"/>
              </a:rPr>
              <a:t>Owner(s): Carmen Malangone &amp; Nancy  Gorczyca</a:t>
            </a:r>
            <a:endParaRPr lang="en-US" sz="1799"/>
          </a:p>
          <a:p>
            <a:pPr algn="ctr">
              <a:defRPr/>
            </a:pPr>
            <a:endParaRPr lang="en-US" sz="1799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694EB2A-25CE-431F-8AEC-0C5B9172D043}"/>
              </a:ext>
            </a:extLst>
          </p:cNvPr>
          <p:cNvSpPr/>
          <p:nvPr/>
        </p:nvSpPr>
        <p:spPr bwMode="gray">
          <a:xfrm>
            <a:off x="5547503" y="4592"/>
            <a:ext cx="1096994" cy="2584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dash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en-US" sz="1200" b="1">
                <a:solidFill>
                  <a:srgbClr val="000000"/>
                </a:solidFill>
                <a:latin typeface="Arial"/>
              </a:rPr>
              <a:t>DRAF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7D6883-9D08-4C72-ABE2-9ED648311F9D}"/>
              </a:ext>
            </a:extLst>
          </p:cNvPr>
          <p:cNvSpPr txBox="1"/>
          <p:nvPr/>
        </p:nvSpPr>
        <p:spPr>
          <a:xfrm>
            <a:off x="1588262" y="706080"/>
            <a:ext cx="2899791" cy="1846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Executive Sponsor:  John Roberts (COO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70B0D9-EAF5-4753-A9C7-E1F34ECAE3F0}"/>
              </a:ext>
            </a:extLst>
          </p:cNvPr>
          <p:cNvSpPr/>
          <p:nvPr/>
        </p:nvSpPr>
        <p:spPr>
          <a:xfrm>
            <a:off x="6548077" y="1271048"/>
            <a:ext cx="2658606" cy="1701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</a:rPr>
              <a:t>VP </a:t>
            </a: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of IEI: Bobby </a:t>
            </a:r>
            <a:r>
              <a:rPr lang="en-US" sz="1200" err="1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Mukundun</a:t>
            </a: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, Nancy Gorczyca, Hal Yost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 IT Delivery: Carmen Malangone, Occhio Orsini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HCB: Lisa Linnartz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Retail: Ray Auger , Brian Bong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PBM: </a:t>
            </a:r>
            <a:r>
              <a:rPr lang="en-US" sz="1200" err="1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Ajoy</a:t>
            </a: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 </a:t>
            </a:r>
            <a:r>
              <a:rPr lang="en-US" sz="1200" err="1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Kodali</a:t>
            </a:r>
            <a:r>
              <a:rPr lang="en-US" sz="1200">
                <a:solidFill>
                  <a:prstClr val="white"/>
                </a:solidFill>
                <a:latin typeface="Arial"/>
                <a:cs typeface="Calibri" panose="020F0502020204030204" pitchFamily="34" charset="0"/>
              </a:rPr>
              <a:t>, Bill Boyd</a:t>
            </a:r>
          </a:p>
          <a:p>
            <a:pPr defTabSz="913852">
              <a:lnSpc>
                <a:spcPct val="110000"/>
              </a:lnSpc>
              <a:buClr>
                <a:srgbClr val="000000"/>
              </a:buClr>
              <a:defRPr/>
            </a:pPr>
            <a:endParaRPr lang="en-US" sz="1200">
              <a:solidFill>
                <a:prstClr val="white"/>
              </a:solidFill>
              <a:latin typeface="Arial"/>
              <a:cs typeface="Calibri" panose="020F05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908C879-80D1-447F-8F0B-81FB39D8A3C7}"/>
              </a:ext>
            </a:extLst>
          </p:cNvPr>
          <p:cNvGraphicFramePr>
            <a:graphicFrameLocks noGrp="1"/>
          </p:cNvGraphicFramePr>
          <p:nvPr/>
        </p:nvGraphicFramePr>
        <p:xfrm>
          <a:off x="1659944" y="3434438"/>
          <a:ext cx="4289833" cy="1915600"/>
        </p:xfrm>
        <a:graphic>
          <a:graphicData uri="http://schemas.openxmlformats.org/drawingml/2006/table">
            <a:tbl>
              <a:tblPr/>
              <a:tblGrid>
                <a:gridCol w="817618">
                  <a:extLst>
                    <a:ext uri="{9D8B030D-6E8A-4147-A177-3AD203B41FA5}">
                      <a16:colId xmlns:a16="http://schemas.microsoft.com/office/drawing/2014/main" val="583852013"/>
                    </a:ext>
                  </a:extLst>
                </a:gridCol>
                <a:gridCol w="2076971">
                  <a:extLst>
                    <a:ext uri="{9D8B030D-6E8A-4147-A177-3AD203B41FA5}">
                      <a16:colId xmlns:a16="http://schemas.microsoft.com/office/drawing/2014/main" val="2292287616"/>
                    </a:ext>
                  </a:extLst>
                </a:gridCol>
                <a:gridCol w="1395244">
                  <a:extLst>
                    <a:ext uri="{9D8B030D-6E8A-4147-A177-3AD203B41FA5}">
                      <a16:colId xmlns:a16="http://schemas.microsoft.com/office/drawing/2014/main" val="1405492945"/>
                    </a:ext>
                  </a:extLst>
                </a:gridCol>
              </a:tblGrid>
              <a:tr h="222827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400" b="0" i="0" u="sng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embers</a:t>
                      </a:r>
                    </a:p>
                  </a:txBody>
                  <a:tcPr marL="9523" marR="9523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BA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825024"/>
                  </a:ext>
                </a:extLst>
              </a:tr>
              <a:tr h="24514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Retail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thik Kirubakaran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IT: 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an Bong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7699543"/>
                  </a:ext>
                </a:extLst>
              </a:tr>
              <a:tr h="2334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HCB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ula Darin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IT: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a Linnartz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04867"/>
                  </a:ext>
                </a:extLst>
              </a:tr>
              <a:tr h="28887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PBM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vanet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rathalwar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IT: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l Boyd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026729"/>
                  </a:ext>
                </a:extLst>
              </a:tr>
              <a:tr h="2755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Analytics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yam </a:t>
                      </a:r>
                      <a:r>
                        <a:rPr lang="en-US" sz="14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njulur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501551"/>
                  </a:ext>
                </a:extLst>
              </a:tr>
              <a:tr h="64943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Clinical Informatics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m Murray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476024"/>
                  </a:ext>
                </a:extLst>
              </a:tr>
            </a:tbl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1BBDC9A9-D576-40EE-A248-A89E15A98AA5}"/>
              </a:ext>
            </a:extLst>
          </p:cNvPr>
          <p:cNvGraphicFramePr>
            <a:graphicFrameLocks noGrp="1"/>
          </p:cNvGraphicFramePr>
          <p:nvPr/>
        </p:nvGraphicFramePr>
        <p:xfrm>
          <a:off x="6364844" y="3586404"/>
          <a:ext cx="4059314" cy="1535712"/>
        </p:xfrm>
        <a:graphic>
          <a:graphicData uri="http://schemas.openxmlformats.org/drawingml/2006/table">
            <a:tbl>
              <a:tblPr/>
              <a:tblGrid>
                <a:gridCol w="2415509">
                  <a:extLst>
                    <a:ext uri="{9D8B030D-6E8A-4147-A177-3AD203B41FA5}">
                      <a16:colId xmlns:a16="http://schemas.microsoft.com/office/drawing/2014/main" val="583852013"/>
                    </a:ext>
                  </a:extLst>
                </a:gridCol>
                <a:gridCol w="1643805">
                  <a:extLst>
                    <a:ext uri="{9D8B030D-6E8A-4147-A177-3AD203B41FA5}">
                      <a16:colId xmlns:a16="http://schemas.microsoft.com/office/drawing/2014/main" val="2292287616"/>
                    </a:ext>
                  </a:extLst>
                </a:gridCol>
              </a:tblGrid>
              <a:tr h="22282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0" i="0" u="sng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Members</a:t>
                      </a:r>
                    </a:p>
                  </a:txBody>
                  <a:tcPr marL="9523" marR="9523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0" i="0" u="sng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825024"/>
                  </a:ext>
                </a:extLst>
              </a:tr>
              <a:tr h="22282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Retail IT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an Bong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04867"/>
                  </a:ext>
                </a:extLst>
              </a:tr>
              <a:tr h="278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HCB IT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a Linnartz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501551"/>
                  </a:ext>
                </a:extLst>
              </a:tr>
              <a:tr h="43613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PBM IT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Infrastructure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l Boyd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 Yost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476024"/>
                  </a:ext>
                </a:extLst>
              </a:tr>
              <a:tr h="374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</a:rPr>
                        <a:t>Product Manager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chio Orsini</a:t>
                      </a:r>
                    </a:p>
                  </a:txBody>
                  <a:tcPr marL="9523" marR="9523" marT="952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6377269"/>
                  </a:ext>
                </a:extLst>
              </a:tr>
            </a:tbl>
          </a:graphicData>
        </a:graphic>
      </p:graphicFrame>
      <p:sp>
        <p:nvSpPr>
          <p:cNvPr id="62" name="TextBox 61">
            <a:extLst>
              <a:ext uri="{FF2B5EF4-FFF2-40B4-BE49-F238E27FC236}">
                <a16:creationId xmlns:a16="http://schemas.microsoft.com/office/drawing/2014/main" id="{55AE4159-E6A4-41B8-A3E6-7639EFB06A77}"/>
              </a:ext>
            </a:extLst>
          </p:cNvPr>
          <p:cNvSpPr txBox="1"/>
          <p:nvPr/>
        </p:nvSpPr>
        <p:spPr>
          <a:xfrm>
            <a:off x="5422481" y="5681913"/>
            <a:ext cx="2265524" cy="738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>
              <a:defRPr/>
            </a:pPr>
            <a:r>
              <a:rPr lang="en-US" sz="1200">
                <a:solidFill>
                  <a:srgbClr val="9E0000"/>
                </a:solidFill>
                <a:latin typeface="Arial"/>
              </a:rPr>
              <a:t>Enterprise Architect(s)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Claudette Hickey</a:t>
            </a:r>
          </a:p>
          <a:p>
            <a:pPr defTabSz="913852">
              <a:buClr>
                <a:srgbClr val="000000"/>
              </a:buClr>
              <a:defRPr/>
            </a:pPr>
            <a:r>
              <a:rPr lang="en-US" sz="1200">
                <a:solidFill>
                  <a:srgbClr val="000000"/>
                </a:solidFill>
                <a:latin typeface="Arial"/>
                <a:cs typeface="Calibri" panose="020F0502020204030204" pitchFamily="34" charset="0"/>
              </a:rPr>
              <a:t>Dale Ianni</a:t>
            </a:r>
          </a:p>
          <a:p>
            <a:pPr defTabSz="914126">
              <a:defRPr/>
            </a:pPr>
            <a:endParaRPr lang="en-US" sz="1200">
              <a:solidFill>
                <a:srgbClr val="9E0000"/>
              </a:solidFill>
              <a:latin typeface="Arial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D3765F1-0F98-47F6-85CC-8B4C4E9C5876}"/>
              </a:ext>
            </a:extLst>
          </p:cNvPr>
          <p:cNvSpPr/>
          <p:nvPr/>
        </p:nvSpPr>
        <p:spPr bwMode="gray">
          <a:xfrm>
            <a:off x="1565978" y="5681914"/>
            <a:ext cx="9250499" cy="532124"/>
          </a:xfrm>
          <a:prstGeom prst="rect">
            <a:avLst/>
          </a:prstGeom>
          <a:noFill/>
          <a:ln w="19050">
            <a:solidFill>
              <a:srgbClr val="CC0000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200" b="1">
              <a:solidFill>
                <a:srgbClr val="64646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98869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5D7A8-C597-414E-833B-F95182155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Data Platform 2.0 Business Capabilities Define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68CF52-23F2-445E-A0A0-17F8EC21BCC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 sz="2000">
                <a:latin typeface="Arial"/>
                <a:cs typeface="Arial"/>
              </a:rPr>
              <a:t>Data, Services and Technology </a:t>
            </a:r>
            <a:endParaRPr lang="en-US" sz="200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0966A1D-10A2-4611-9E08-97C25A09CB32}"/>
              </a:ext>
            </a:extLst>
          </p:cNvPr>
          <p:cNvGraphicFramePr>
            <a:graphicFrameLocks noGrp="1"/>
          </p:cNvGraphicFramePr>
          <p:nvPr/>
        </p:nvGraphicFramePr>
        <p:xfrm>
          <a:off x="404334" y="1101751"/>
          <a:ext cx="11383331" cy="529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094">
                  <a:extLst>
                    <a:ext uri="{9D8B030D-6E8A-4147-A177-3AD203B41FA5}">
                      <a16:colId xmlns:a16="http://schemas.microsoft.com/office/drawing/2014/main" val="413138849"/>
                    </a:ext>
                  </a:extLst>
                </a:gridCol>
                <a:gridCol w="2205148">
                  <a:extLst>
                    <a:ext uri="{9D8B030D-6E8A-4147-A177-3AD203B41FA5}">
                      <a16:colId xmlns:a16="http://schemas.microsoft.com/office/drawing/2014/main" val="4285932392"/>
                    </a:ext>
                  </a:extLst>
                </a:gridCol>
                <a:gridCol w="7693089">
                  <a:extLst>
                    <a:ext uri="{9D8B030D-6E8A-4147-A177-3AD203B41FA5}">
                      <a16:colId xmlns:a16="http://schemas.microsoft.com/office/drawing/2014/main" val="3067073780"/>
                    </a:ext>
                  </a:extLst>
                </a:gridCol>
              </a:tblGrid>
              <a:tr h="494664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Theme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Capability</a:t>
                      </a:r>
                    </a:p>
                  </a:txBody>
                  <a:tcPr marL="0" marR="0" marT="0" marB="0" anchor="ctr"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Capability Description</a:t>
                      </a:r>
                    </a:p>
                  </a:txBody>
                  <a:tcPr marL="0" marR="0" marT="0" marB="0" anchor="ctr"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5828041"/>
                  </a:ext>
                </a:extLst>
              </a:tr>
              <a:tr h="1103403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baseline="0">
                          <a:solidFill>
                            <a:schemeClr val="bg1"/>
                          </a:solidFill>
                          <a:latin typeface="+mj-lt"/>
                        </a:rPr>
                        <a:t>Data Planning 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Proactive and On Demand Data Planning 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</a:rPr>
                        <a:t>Proactively identify data needs based on strategic initiatives and future business projects. 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 prioritized roadmap for data needs for the Data Platform. 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ize on demand project-based data intake requests as needed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386527"/>
                  </a:ext>
                </a:extLst>
              </a:tr>
              <a:tr h="1176331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Data Stewardship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</a:rPr>
                        <a:t>Establish decision rights, ownership and compliance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</a:rPr>
                        <a:t>Develop guidelines for data classification and differentiating enterprise data assets from LOB data assets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</a:rPr>
                        <a:t>Support the data roadmap planning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136265"/>
                  </a:ext>
                </a:extLst>
              </a:tr>
              <a:tr h="715759">
                <a:tc rowSpan="4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ta Platform Services &amp;Technology 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Product Servic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effectLst/>
                          <a:latin typeface="+mn-lt"/>
                          <a:ea typeface="Calibri" panose="020F0502020204030204" pitchFamily="34" charset="0"/>
                        </a:rPr>
                        <a:t>Define and agree on Services, the enhancements, and implementation roadmap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effectLst/>
                          <a:latin typeface="+mn-lt"/>
                          <a:ea typeface="Calibri" panose="020F0502020204030204" pitchFamily="34" charset="0"/>
                        </a:rPr>
                        <a:t>Report progress, providing milestones reached and roadblocks encountered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696870"/>
                  </a:ext>
                </a:extLst>
              </a:tr>
              <a:tr h="495845">
                <a:tc vMerge="1">
                  <a:txBody>
                    <a:bodyPr/>
                    <a:lstStyle/>
                    <a:p>
                      <a:pPr algn="ctr"/>
                      <a:endParaRPr lang="en-US" sz="1400" b="1" baseline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Data Delivery and Consump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tatus of data availability, data usage and consumers using platform </a:t>
                      </a:r>
                      <a:endParaRPr lang="en-US" sz="1400" b="0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166746"/>
                  </a:ext>
                </a:extLst>
              </a:tr>
              <a:tr h="715759">
                <a:tc vMerge="1">
                  <a:txBody>
                    <a:bodyPr/>
                    <a:lstStyle/>
                    <a:p>
                      <a:pPr algn="ctr"/>
                      <a:endParaRPr lang="en-US" sz="1400" b="1" baseline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Technolog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versight of technology selections that support/enhance the data platform capabilities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sure selections are aligned with the overall Data Platform strategy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baseline="0"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581593"/>
                  </a:ext>
                </a:extLst>
              </a:tr>
              <a:tr h="582298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Infrastructu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sight of infrastructure strategy and operations aligned with budget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620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7408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ributors</a:t>
            </a:r>
          </a:p>
        </p:txBody>
      </p:sp>
    </p:spTree>
    <p:extLst>
      <p:ext uri="{BB962C8B-B14F-4D97-AF65-F5344CB8AC3E}">
        <p14:creationId xmlns:p14="http://schemas.microsoft.com/office/powerpoint/2010/main" val="3364856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2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ributo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e collaborated with several key stakeholders in completing this analysi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405545"/>
              </p:ext>
            </p:extLst>
          </p:nvPr>
        </p:nvGraphicFramePr>
        <p:xfrm>
          <a:off x="448344" y="1840098"/>
          <a:ext cx="11284986" cy="373735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761662">
                  <a:extLst>
                    <a:ext uri="{9D8B030D-6E8A-4147-A177-3AD203B41FA5}">
                      <a16:colId xmlns:a16="http://schemas.microsoft.com/office/drawing/2014/main" val="3207047911"/>
                    </a:ext>
                  </a:extLst>
                </a:gridCol>
                <a:gridCol w="3761662">
                  <a:extLst>
                    <a:ext uri="{9D8B030D-6E8A-4147-A177-3AD203B41FA5}">
                      <a16:colId xmlns:a16="http://schemas.microsoft.com/office/drawing/2014/main" val="625141740"/>
                    </a:ext>
                  </a:extLst>
                </a:gridCol>
                <a:gridCol w="3761662">
                  <a:extLst>
                    <a:ext uri="{9D8B030D-6E8A-4147-A177-3AD203B41FA5}">
                      <a16:colId xmlns:a16="http://schemas.microsoft.com/office/drawing/2014/main" val="3778297621"/>
                    </a:ext>
                  </a:extLst>
                </a:gridCol>
              </a:tblGrid>
              <a:tr h="335193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ontributors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eviewers/Feedback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65201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laudette Hickey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cchio </a:t>
                      </a:r>
                      <a:r>
                        <a:rPr lang="en-US" sz="14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rcini</a:t>
                      </a:r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(IT)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141390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John Pierce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Hal Yost  (Infrastructure)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472681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Jeff O’dell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wn Shane  (Finance)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982871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ale Ianni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Kathy Kadziolka (IT) 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949321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huck Abrahamson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James Tharakan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895298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gor Bord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anjay </a:t>
                      </a:r>
                      <a:r>
                        <a:rPr lang="en-US" sz="14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ajopal</a:t>
                      </a:r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312006"/>
                  </a:ext>
                </a:extLst>
              </a:tr>
              <a:tr h="480661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Carmon Malangone  (Engineering)</a:t>
                      </a:r>
                    </a:p>
                    <a:p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Dilip Sarangdevot  (Engineering)</a:t>
                      </a:r>
                    </a:p>
                  </a:txBody>
                  <a:tcPr marL="91416" marR="91416" marT="45708" marB="45708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ob Rainwater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971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518D3AA-1AD3-415D-9432-87D8A09CE81B}"/>
              </a:ext>
            </a:extLst>
          </p:cNvPr>
          <p:cNvSpPr txBox="1"/>
          <p:nvPr/>
        </p:nvSpPr>
        <p:spPr>
          <a:xfrm>
            <a:off x="442522" y="5982277"/>
            <a:ext cx="10373751" cy="35771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621" fontAlgn="base">
              <a:spcBef>
                <a:spcPts val="1200"/>
              </a:spcBef>
            </a:pP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ink to ESA relationship map list entries: [TBD]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2769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3817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168A7F-4D4D-4599-A6B0-278ED9529D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37011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DFCEC-AA52-4E25-AEAA-C91535DBC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Platform Consumption Patter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BC17B1-1AC4-45F0-BB9F-5E05EA5294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/>
              <a:t>Users Consumptions Zones to interact and build out analytic insights with data</a:t>
            </a:r>
          </a:p>
          <a:p>
            <a:r>
              <a:rPr lang="en-US"/>
              <a:t>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80F0C59-3CB7-49D7-8FFD-999E957AF30D}"/>
              </a:ext>
            </a:extLst>
          </p:cNvPr>
          <p:cNvGraphicFramePr>
            <a:graphicFrameLocks noGrp="1"/>
          </p:cNvGraphicFramePr>
          <p:nvPr/>
        </p:nvGraphicFramePr>
        <p:xfrm>
          <a:off x="557929" y="1227242"/>
          <a:ext cx="10896599" cy="538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5082">
                  <a:extLst>
                    <a:ext uri="{9D8B030D-6E8A-4147-A177-3AD203B41FA5}">
                      <a16:colId xmlns:a16="http://schemas.microsoft.com/office/drawing/2014/main" val="2714258231"/>
                    </a:ext>
                  </a:extLst>
                </a:gridCol>
                <a:gridCol w="3739793">
                  <a:extLst>
                    <a:ext uri="{9D8B030D-6E8A-4147-A177-3AD203B41FA5}">
                      <a16:colId xmlns:a16="http://schemas.microsoft.com/office/drawing/2014/main" val="3041396023"/>
                    </a:ext>
                  </a:extLst>
                </a:gridCol>
                <a:gridCol w="5451724">
                  <a:extLst>
                    <a:ext uri="{9D8B030D-6E8A-4147-A177-3AD203B41FA5}">
                      <a16:colId xmlns:a16="http://schemas.microsoft.com/office/drawing/2014/main" val="209805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/>
                        <a:t>Pat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Key attribu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494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/>
                        <a:t>Data Discovery / Data Sc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Discovery Zone that provides quick access to data (raw viewable, integrated, conformed) and link to existing datasets (3</a:t>
                      </a:r>
                      <a:r>
                        <a:rPr lang="en-US" sz="1300" baseline="30000"/>
                        <a:t>rd</a:t>
                      </a:r>
                      <a:r>
                        <a:rPr lang="en-US" sz="1300"/>
                        <a:t> party or internal) to discover patterns and train mod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Speed through empowerment and self-servic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Conformance done by users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Elastic capacity for efficiency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No expectation of sustaining updates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Limited metadata captured (</a:t>
                      </a:r>
                      <a:r>
                        <a:rPr lang="en-US" sz="1300" err="1"/>
                        <a:t>eg</a:t>
                      </a:r>
                      <a:r>
                        <a:rPr lang="en-US" sz="1300"/>
                        <a:t>: source, data type, own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4455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/>
                        <a:t>High capacity run-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Processing engine to create output for 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Massive elastic scalability to minimize cycle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555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/>
                        <a:t>Advanced 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Ad hoc queries, self service access to various data that is well described, structured pipeline process that converts transactional data for multiple analytical use case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Most common for sustained us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Well managed metadata including business term definitions in glossary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Updated primarily by batch with some streaming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Suitable to feed down stream syste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878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/>
                        <a:t>Business Intellig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Traditional consumption for reporting, dashboards, and  visualization from purpose-specific datas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Very reliable and responsiv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Maximum allowable discovery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Wide variety of tools used to access data 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Easiest to navigate, use, shar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Very well managed glossary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Stable structure, well managed chang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Updated as batch, streaming, snapsho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916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/>
                        <a:t>Operational Hu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/>
                        <a:t>Aggregation of </a:t>
                      </a:r>
                      <a:r>
                        <a:rPr lang="en-US" sz="1300" err="1"/>
                        <a:t>translytical</a:t>
                      </a:r>
                      <a:r>
                        <a:rPr lang="en-US" sz="1300"/>
                        <a:t>, master, and reference data for customer 360, EPH, </a:t>
                      </a:r>
                      <a:r>
                        <a:rPr lang="en-US" sz="1300" err="1"/>
                        <a:t>etc</a:t>
                      </a:r>
                      <a:endParaRPr lang="en-US" sz="13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Very reliable and responsiv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Very well managed glossary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Stable structure, well managed change</a:t>
                      </a:r>
                    </a:p>
                    <a:p>
                      <a:pPr marL="119063" indent="-119063">
                        <a:buFontTx/>
                        <a:buChar char="-"/>
                      </a:pPr>
                      <a:r>
                        <a:rPr lang="en-US" sz="1300"/>
                        <a:t>Can be integrated into transactional syste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69373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0647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2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4">
            <a:extLst>
              <a:ext uri="{FF2B5EF4-FFF2-40B4-BE49-F238E27FC236}">
                <a16:creationId xmlns:a16="http://schemas.microsoft.com/office/drawing/2014/main" id="{62155046-551C-492D-90FA-2A6520075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2400"/>
              <a:t>Data Platform 2.0 is a critical enabler and enhancer of CVSH’s strategic imperativ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AD253D-045F-4EA7-9F04-6A3300DB0B0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979537"/>
            <a:ext cx="9687861" cy="422275"/>
          </a:xfrm>
        </p:spPr>
        <p:txBody>
          <a:bodyPr/>
          <a:lstStyle/>
          <a:p>
            <a:r>
              <a:rPr lang="en-US" sz="2000"/>
              <a:t>Driving change, making better decisions through data driven insights</a:t>
            </a:r>
          </a:p>
          <a:p>
            <a:endParaRPr lang="en-US" sz="2000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86E36B4-E15D-4400-9FCE-4D13A16E9930}"/>
              </a:ext>
            </a:extLst>
          </p:cNvPr>
          <p:cNvSpPr/>
          <p:nvPr/>
        </p:nvSpPr>
        <p:spPr>
          <a:xfrm>
            <a:off x="853209" y="1719814"/>
            <a:ext cx="1659281" cy="4530621"/>
          </a:xfrm>
          <a:prstGeom prst="rect">
            <a:avLst/>
          </a:prstGeom>
          <a:solidFill>
            <a:srgbClr val="FF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526AE7A-0FEC-4E3B-A0D6-98958BD1091E}"/>
              </a:ext>
            </a:extLst>
          </p:cNvPr>
          <p:cNvSpPr/>
          <p:nvPr/>
        </p:nvSpPr>
        <p:spPr>
          <a:xfrm>
            <a:off x="853209" y="1528542"/>
            <a:ext cx="1659281" cy="327176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97DE9AB-77C0-4176-A1C1-4D63B9F5B08F}"/>
              </a:ext>
            </a:extLst>
          </p:cNvPr>
          <p:cNvSpPr/>
          <p:nvPr/>
        </p:nvSpPr>
        <p:spPr>
          <a:xfrm>
            <a:off x="853209" y="6185447"/>
            <a:ext cx="1659281" cy="72514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2B9A7AC-5DD6-4FB1-B77B-D892186D38AC}"/>
              </a:ext>
            </a:extLst>
          </p:cNvPr>
          <p:cNvSpPr/>
          <p:nvPr/>
        </p:nvSpPr>
        <p:spPr>
          <a:xfrm>
            <a:off x="858516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CRITICAL ENABL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778696F-F156-44C0-99B2-70C4DCD0EA50}"/>
              </a:ext>
            </a:extLst>
          </p:cNvPr>
          <p:cNvSpPr txBox="1"/>
          <p:nvPr/>
        </p:nvSpPr>
        <p:spPr>
          <a:xfrm>
            <a:off x="975903" y="2126237"/>
            <a:ext cx="141389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Be local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0F69A9B0-4E56-4CC4-B231-E0DB91DEE7B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88695" y="2678950"/>
            <a:ext cx="588306" cy="516156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DC2211FF-BF5C-42AD-965D-3A72E78AC9D9}"/>
              </a:ext>
            </a:extLst>
          </p:cNvPr>
          <p:cNvSpPr txBox="1"/>
          <p:nvPr/>
        </p:nvSpPr>
        <p:spPr>
          <a:xfrm>
            <a:off x="1028853" y="3272152"/>
            <a:ext cx="14138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Engage people with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the care they need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where they need i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CAE0A61-E9FB-43A9-A896-EEFD1996BE7C}"/>
              </a:ext>
            </a:extLst>
          </p:cNvPr>
          <p:cNvSpPr/>
          <p:nvPr/>
        </p:nvSpPr>
        <p:spPr>
          <a:xfrm>
            <a:off x="913521" y="4316053"/>
            <a:ext cx="1727309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ing the insights that are most relevant and actionable to our healthcare constituents (members and consumers) where they are in their journey to better health 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2D418CE-04E4-40A5-92CA-F1712C5B39CC}"/>
              </a:ext>
            </a:extLst>
          </p:cNvPr>
          <p:cNvSpPr/>
          <p:nvPr/>
        </p:nvSpPr>
        <p:spPr>
          <a:xfrm>
            <a:off x="1507198" y="4196142"/>
            <a:ext cx="457200" cy="18288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24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D5FFBF19-82A4-4DDF-8AEE-ACB1DB59219C}"/>
              </a:ext>
            </a:extLst>
          </p:cNvPr>
          <p:cNvSpPr/>
          <p:nvPr/>
        </p:nvSpPr>
        <p:spPr>
          <a:xfrm>
            <a:off x="2561488" y="1689102"/>
            <a:ext cx="1659281" cy="4530621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05677234-6F01-4920-8B8A-7EEEF617910B}"/>
              </a:ext>
            </a:extLst>
          </p:cNvPr>
          <p:cNvSpPr/>
          <p:nvPr/>
        </p:nvSpPr>
        <p:spPr>
          <a:xfrm>
            <a:off x="2561488" y="1528544"/>
            <a:ext cx="1659281" cy="327175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C738BF2E-1D73-4A55-A891-2EEBD29FF45C}"/>
              </a:ext>
            </a:extLst>
          </p:cNvPr>
          <p:cNvSpPr/>
          <p:nvPr/>
        </p:nvSpPr>
        <p:spPr>
          <a:xfrm>
            <a:off x="2561488" y="6185447"/>
            <a:ext cx="1659281" cy="72514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F05454C-4ECC-471D-8905-6A6DB16DEE2E}"/>
              </a:ext>
            </a:extLst>
          </p:cNvPr>
          <p:cNvSpPr/>
          <p:nvPr/>
        </p:nvSpPr>
        <p:spPr>
          <a:xfrm>
            <a:off x="2566795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CRITICAL ENABL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132D9C6-E703-4164-B4D6-8124F54EB58B}"/>
              </a:ext>
            </a:extLst>
          </p:cNvPr>
          <p:cNvSpPr txBox="1"/>
          <p:nvPr/>
        </p:nvSpPr>
        <p:spPr>
          <a:xfrm>
            <a:off x="2682467" y="2126237"/>
            <a:ext cx="14173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Make it simple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558D2FEB-E864-41B4-9BD5-D5C316746F5E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6974" y="2648111"/>
            <a:ext cx="588306" cy="588306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20F5CD67-6B7F-4098-9214-6A9CAA3D9448}"/>
              </a:ext>
            </a:extLst>
          </p:cNvPr>
          <p:cNvSpPr txBox="1"/>
          <p:nvPr/>
        </p:nvSpPr>
        <p:spPr>
          <a:xfrm>
            <a:off x="2735417" y="3272152"/>
            <a:ext cx="14173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Make a complicated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system easier for all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49ABBD47-565A-44F3-AA0F-9AC469C8DA80}"/>
              </a:ext>
            </a:extLst>
          </p:cNvPr>
          <p:cNvSpPr/>
          <p:nvPr/>
        </p:nvSpPr>
        <p:spPr>
          <a:xfrm>
            <a:off x="3162527" y="4196142"/>
            <a:ext cx="457200" cy="18288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4B23DE9-903C-400E-8CD0-DDEF42653E8D}"/>
              </a:ext>
            </a:extLst>
          </p:cNvPr>
          <p:cNvSpPr/>
          <p:nvPr/>
        </p:nvSpPr>
        <p:spPr>
          <a:xfrm>
            <a:off x="4269767" y="1683263"/>
            <a:ext cx="1659281" cy="4530621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54D34166-BD42-471E-8190-BED5E319D057}"/>
              </a:ext>
            </a:extLst>
          </p:cNvPr>
          <p:cNvSpPr/>
          <p:nvPr/>
        </p:nvSpPr>
        <p:spPr>
          <a:xfrm>
            <a:off x="4269767" y="1528544"/>
            <a:ext cx="1659281" cy="327175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B33330EA-A37A-45DE-875F-27F2E7425ECE}"/>
              </a:ext>
            </a:extLst>
          </p:cNvPr>
          <p:cNvSpPr/>
          <p:nvPr/>
        </p:nvSpPr>
        <p:spPr>
          <a:xfrm>
            <a:off x="4269767" y="6185447"/>
            <a:ext cx="1659281" cy="72514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098730E-ED8C-441A-8C77-584549182291}"/>
              </a:ext>
            </a:extLst>
          </p:cNvPr>
          <p:cNvSpPr/>
          <p:nvPr/>
        </p:nvSpPr>
        <p:spPr>
          <a:xfrm>
            <a:off x="4275074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CRITICAL ENABL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A6DA864-15DD-445C-B370-78F73CF0B5E3}"/>
              </a:ext>
            </a:extLst>
          </p:cNvPr>
          <p:cNvSpPr txBox="1"/>
          <p:nvPr/>
        </p:nvSpPr>
        <p:spPr>
          <a:xfrm>
            <a:off x="4390746" y="2126237"/>
            <a:ext cx="14173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Improve health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D03916A-A620-4E6A-89D9-0D696F83D642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05253" y="2684687"/>
            <a:ext cx="588306" cy="502734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1510A01A-2D09-4D3A-8C49-6571E57F4222}"/>
              </a:ext>
            </a:extLst>
          </p:cNvPr>
          <p:cNvSpPr txBox="1"/>
          <p:nvPr/>
        </p:nvSpPr>
        <p:spPr>
          <a:xfrm>
            <a:off x="4443696" y="3272152"/>
            <a:ext cx="14173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Help people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chieve better health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t a lower cost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F3C1747-7FCC-4DE9-BAD8-3412C498DC39}"/>
              </a:ext>
            </a:extLst>
          </p:cNvPr>
          <p:cNvSpPr/>
          <p:nvPr/>
        </p:nvSpPr>
        <p:spPr>
          <a:xfrm>
            <a:off x="4923756" y="4196142"/>
            <a:ext cx="457200" cy="18288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24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0A09F7-55C5-4074-A812-6C4411B8F82F}"/>
              </a:ext>
            </a:extLst>
          </p:cNvPr>
          <p:cNvSpPr/>
          <p:nvPr/>
        </p:nvSpPr>
        <p:spPr>
          <a:xfrm>
            <a:off x="5978046" y="1683263"/>
            <a:ext cx="1659281" cy="4530621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2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8D66288-145E-4058-AA96-1C1C2EF1E805}"/>
              </a:ext>
            </a:extLst>
          </p:cNvPr>
          <p:cNvSpPr/>
          <p:nvPr/>
        </p:nvSpPr>
        <p:spPr>
          <a:xfrm>
            <a:off x="5978046" y="1528544"/>
            <a:ext cx="1659281" cy="327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58041F2-5ED8-4732-8FAB-E3F67E68603C}"/>
              </a:ext>
            </a:extLst>
          </p:cNvPr>
          <p:cNvSpPr/>
          <p:nvPr/>
        </p:nvSpPr>
        <p:spPr>
          <a:xfrm>
            <a:off x="5978046" y="6185447"/>
            <a:ext cx="1659281" cy="725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9E6E5D8-F86F-4630-B825-9FEA2148375C}"/>
              </a:ext>
            </a:extLst>
          </p:cNvPr>
          <p:cNvSpPr/>
          <p:nvPr/>
        </p:nvSpPr>
        <p:spPr>
          <a:xfrm>
            <a:off x="5983353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CRITICAL ENAB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9699718-536A-4189-B933-5C30B5503C3E}"/>
              </a:ext>
            </a:extLst>
          </p:cNvPr>
          <p:cNvSpPr txBox="1"/>
          <p:nvPr/>
        </p:nvSpPr>
        <p:spPr>
          <a:xfrm>
            <a:off x="6099025" y="2126237"/>
            <a:ext cx="14173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Lead the change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A679FE94-BFEB-4809-9BDD-BC2535392833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13532" y="2585246"/>
            <a:ext cx="588306" cy="735382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2DA2DB5E-A57C-4052-9BB4-CB4BBAEA6962}"/>
              </a:ext>
            </a:extLst>
          </p:cNvPr>
          <p:cNvSpPr txBox="1"/>
          <p:nvPr/>
        </p:nvSpPr>
        <p:spPr>
          <a:xfrm>
            <a:off x="6151975" y="3272151"/>
            <a:ext cx="141732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Challenge the status quo with new technologies, business models and partnership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7A5F7E3D-4BCF-4230-AB37-138FF03EE5D4}"/>
              </a:ext>
            </a:extLst>
          </p:cNvPr>
          <p:cNvSpPr/>
          <p:nvPr/>
        </p:nvSpPr>
        <p:spPr>
          <a:xfrm>
            <a:off x="6632035" y="4196142"/>
            <a:ext cx="457200" cy="18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24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2D69363-BE0B-44DF-8B37-9BC18317649E}"/>
              </a:ext>
            </a:extLst>
          </p:cNvPr>
          <p:cNvSpPr/>
          <p:nvPr/>
        </p:nvSpPr>
        <p:spPr>
          <a:xfrm>
            <a:off x="7686325" y="1683263"/>
            <a:ext cx="1659281" cy="4530621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F33EBE7-ECF3-415A-AEA5-E2299AFF92DB}"/>
              </a:ext>
            </a:extLst>
          </p:cNvPr>
          <p:cNvSpPr/>
          <p:nvPr/>
        </p:nvSpPr>
        <p:spPr>
          <a:xfrm>
            <a:off x="7686325" y="1528544"/>
            <a:ext cx="1659281" cy="327175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chemeClr val="accent5"/>
              </a:solidFill>
              <a:latin typeface="Calibri" panose="020F0502020204030204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C8FDC56-B5EA-4D71-8478-72C2A7E3C90E}"/>
              </a:ext>
            </a:extLst>
          </p:cNvPr>
          <p:cNvSpPr/>
          <p:nvPr/>
        </p:nvSpPr>
        <p:spPr>
          <a:xfrm>
            <a:off x="7686325" y="6185447"/>
            <a:ext cx="1659281" cy="72514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chemeClr val="accent5"/>
              </a:solidFill>
              <a:latin typeface="Calibri" panose="020F0502020204030204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842B55D-2045-4F9C-938E-A0F6E13D2BCD}"/>
              </a:ext>
            </a:extLst>
          </p:cNvPr>
          <p:cNvSpPr/>
          <p:nvPr/>
        </p:nvSpPr>
        <p:spPr>
          <a:xfrm>
            <a:off x="7691632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ENHANC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C839AA5-8005-4E81-9276-F96A89F322C2}"/>
              </a:ext>
            </a:extLst>
          </p:cNvPr>
          <p:cNvSpPr txBox="1"/>
          <p:nvPr/>
        </p:nvSpPr>
        <p:spPr>
          <a:xfrm>
            <a:off x="7807304" y="2126237"/>
            <a:ext cx="14173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ttract and inspire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3B5FF0E0-9FC3-41BA-9141-83F9B199036C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21811" y="2648111"/>
            <a:ext cx="588306" cy="588306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7E75BA89-A8F1-4E3E-9CA8-719BA27A070D}"/>
              </a:ext>
            </a:extLst>
          </p:cNvPr>
          <p:cNvSpPr txBox="1"/>
          <p:nvPr/>
        </p:nvSpPr>
        <p:spPr>
          <a:xfrm>
            <a:off x="7860254" y="3272152"/>
            <a:ext cx="14173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Unlock the power of </a:t>
            </a:r>
            <a:b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our people to transform health care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229543B-AAEF-43AA-BAEC-A2B29047A0D1}"/>
              </a:ext>
            </a:extLst>
          </p:cNvPr>
          <p:cNvSpPr/>
          <p:nvPr/>
        </p:nvSpPr>
        <p:spPr>
          <a:xfrm>
            <a:off x="8340314" y="4196142"/>
            <a:ext cx="457200" cy="18288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24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5736350-55C0-4D55-BB5B-E42A4BD24860}"/>
              </a:ext>
            </a:extLst>
          </p:cNvPr>
          <p:cNvSpPr/>
          <p:nvPr/>
        </p:nvSpPr>
        <p:spPr>
          <a:xfrm>
            <a:off x="9394605" y="1689102"/>
            <a:ext cx="1659281" cy="4530621"/>
          </a:xfrm>
          <a:prstGeom prst="rect">
            <a:avLst/>
          </a:prstGeom>
          <a:solidFill>
            <a:schemeClr val="accent1">
              <a:lumMod val="20000"/>
              <a:lumOff val="8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96A29B94-B3C3-49FA-BE8B-E14BA715E368}"/>
              </a:ext>
            </a:extLst>
          </p:cNvPr>
          <p:cNvSpPr/>
          <p:nvPr/>
        </p:nvSpPr>
        <p:spPr>
          <a:xfrm>
            <a:off x="9394605" y="1528544"/>
            <a:ext cx="1659281" cy="327175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DA127C54-F66E-4EAD-92EC-224B70986A66}"/>
              </a:ext>
            </a:extLst>
          </p:cNvPr>
          <p:cNvSpPr/>
          <p:nvPr/>
        </p:nvSpPr>
        <p:spPr>
          <a:xfrm>
            <a:off x="9394605" y="6185447"/>
            <a:ext cx="1659281" cy="72514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F0BAE15-B2B8-4AE5-BF89-E9B371839605}"/>
              </a:ext>
            </a:extLst>
          </p:cNvPr>
          <p:cNvSpPr/>
          <p:nvPr/>
        </p:nvSpPr>
        <p:spPr>
          <a:xfrm>
            <a:off x="9399912" y="1619033"/>
            <a:ext cx="1648664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000" b="1">
                <a:solidFill>
                  <a:schemeClr val="bg1"/>
                </a:solidFill>
              </a:rPr>
              <a:t>CRITICAL ENABLER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65B889A-A864-4489-B789-698300A437B4}"/>
              </a:ext>
            </a:extLst>
          </p:cNvPr>
          <p:cNvSpPr txBox="1"/>
          <p:nvPr/>
        </p:nvSpPr>
        <p:spPr>
          <a:xfrm>
            <a:off x="9429538" y="2049294"/>
            <a:ext cx="158941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lnSpc>
                <a:spcPts val="1200"/>
              </a:lnSpc>
              <a:defRPr/>
            </a:pP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Optimize performance </a:t>
            </a:r>
            <a:b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en-US"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and service 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7F1A31F1-3096-4919-86CB-100667323817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30091" y="2625251"/>
            <a:ext cx="588306" cy="641788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6CFA9C16-1200-462C-92DA-634BFF3DC6BE}"/>
              </a:ext>
            </a:extLst>
          </p:cNvPr>
          <p:cNvSpPr txBox="1"/>
          <p:nvPr/>
        </p:nvSpPr>
        <p:spPr>
          <a:xfrm>
            <a:off x="9507865" y="3272152"/>
            <a:ext cx="15386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>
              <a:defRPr/>
            </a:pPr>
            <a:r>
              <a:rPr lang="en-US" sz="1200" i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Ensure our people, processes and technology enable our strategy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498F4A7-B2EF-4F8B-908D-6CEFB906F648}"/>
              </a:ext>
            </a:extLst>
          </p:cNvPr>
          <p:cNvSpPr/>
          <p:nvPr/>
        </p:nvSpPr>
        <p:spPr>
          <a:xfrm>
            <a:off x="10048594" y="4196142"/>
            <a:ext cx="457200" cy="18288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24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634FA66-AF5A-41EB-AF98-3A11B802C3F7}"/>
              </a:ext>
            </a:extLst>
          </p:cNvPr>
          <p:cNvSpPr/>
          <p:nvPr/>
        </p:nvSpPr>
        <p:spPr>
          <a:xfrm>
            <a:off x="2621799" y="4316053"/>
            <a:ext cx="1644557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a single place to go for all the data needed to enable an insights-driven enterpris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0F51A45E-A293-4143-BB3B-5FABF36D4FB8}"/>
              </a:ext>
            </a:extLst>
          </p:cNvPr>
          <p:cNvSpPr/>
          <p:nvPr/>
        </p:nvSpPr>
        <p:spPr>
          <a:xfrm>
            <a:off x="4281080" y="4316053"/>
            <a:ext cx="1644557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a holistic view of our healthcare consumers and recommendations that are tuned to their specific needs and situation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6D69785-05AF-458E-A243-7F15C56E59E7}"/>
              </a:ext>
            </a:extLst>
          </p:cNvPr>
          <p:cNvSpPr/>
          <p:nvPr/>
        </p:nvSpPr>
        <p:spPr>
          <a:xfrm>
            <a:off x="6023635" y="4316053"/>
            <a:ext cx="1783669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ting value of data-driven decision making to improve health and optimize the business operations and engagements with our customer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876271F-BA31-4C43-A7FB-0388DD6654E8}"/>
              </a:ext>
            </a:extLst>
          </p:cNvPr>
          <p:cNvSpPr/>
          <p:nvPr/>
        </p:nvSpPr>
        <p:spPr>
          <a:xfrm>
            <a:off x="7686325" y="4316053"/>
            <a:ext cx="1653971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insight-driven innovation that amplifies the impact of thought leaders that aspire to change the healthcare landscape for the better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B9531E6-9EE6-4F86-A076-84BBC898E460}"/>
              </a:ext>
            </a:extLst>
          </p:cNvPr>
          <p:cNvSpPr/>
          <p:nvPr/>
        </p:nvSpPr>
        <p:spPr>
          <a:xfrm>
            <a:off x="9401966" y="4316053"/>
            <a:ext cx="1700919" cy="16450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the data and tools needed to derive a deeper understanding of what is working and where to focus optimization efforts and predict the impact and value of change </a:t>
            </a:r>
          </a:p>
        </p:txBody>
      </p:sp>
    </p:spTree>
    <p:extLst>
      <p:ext uri="{BB962C8B-B14F-4D97-AF65-F5344CB8AC3E}">
        <p14:creationId xmlns:p14="http://schemas.microsoft.com/office/powerpoint/2010/main" val="2967362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1A8B10D-CD5B-4E5C-965C-ED83AC27A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ata Platform: Chart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A78489-E553-4AA6-ACA1-67D6B239EBE7}"/>
              </a:ext>
            </a:extLst>
          </p:cNvPr>
          <p:cNvCxnSpPr>
            <a:cxnSpLocks/>
          </p:cNvCxnSpPr>
          <p:nvPr/>
        </p:nvCxnSpPr>
        <p:spPr>
          <a:xfrm>
            <a:off x="7570643" y="921737"/>
            <a:ext cx="3986429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B32FDB1F-1B1E-465A-9A72-C35D2DAED288}"/>
              </a:ext>
            </a:extLst>
          </p:cNvPr>
          <p:cNvSpPr txBox="1">
            <a:spLocks/>
          </p:cNvSpPr>
          <p:nvPr/>
        </p:nvSpPr>
        <p:spPr>
          <a:xfrm>
            <a:off x="597127" y="1108165"/>
            <a:ext cx="6730222" cy="454185"/>
          </a:xfrm>
          <a:prstGeom prst="rect">
            <a:avLst/>
          </a:prstGeom>
        </p:spPr>
        <p:txBody>
          <a:bodyPr vert="horz" lIns="0" tIns="45708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spc="300">
                <a:solidFill>
                  <a:schemeClr val="accent3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The </a:t>
            </a:r>
            <a:r>
              <a:rPr lang="en-US" sz="1200" b="1" spc="300">
                <a:solidFill>
                  <a:schemeClr val="accent3">
                    <a:lumMod val="75000"/>
                  </a:schemeClr>
                </a:solidFill>
                <a:cs typeface="Calibri" panose="020F0502020204030204" pitchFamily="34" charset="0"/>
              </a:rPr>
              <a:t>Data</a:t>
            </a:r>
            <a:r>
              <a:rPr lang="en-US" sz="1200" b="1" spc="300">
                <a:solidFill>
                  <a:schemeClr val="accent3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 Platform will deliver integrated and differentiated value by… </a:t>
            </a:r>
            <a:endParaRPr lang="en-US" sz="1200" spc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33477A-9014-48DD-8BD2-FDADD315C0B5}"/>
              </a:ext>
            </a:extLst>
          </p:cNvPr>
          <p:cNvSpPr txBox="1">
            <a:spLocks/>
          </p:cNvSpPr>
          <p:nvPr/>
        </p:nvSpPr>
        <p:spPr>
          <a:xfrm>
            <a:off x="9028490" y="784577"/>
            <a:ext cx="1097280" cy="27432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algn="ctr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spc="300">
                <a:solidFill>
                  <a:schemeClr val="bg1"/>
                </a:solidFill>
                <a:cs typeface="Calibri" panose="020F0502020204030204" pitchFamily="34" charset="0"/>
              </a:rPr>
              <a:t>SCOPE</a:t>
            </a:r>
            <a:endParaRPr lang="en-US" sz="1200" spc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DECE314-7EE7-4774-A3A7-A220F3E2963C}"/>
              </a:ext>
            </a:extLst>
          </p:cNvPr>
          <p:cNvSpPr txBox="1">
            <a:spLocks/>
          </p:cNvSpPr>
          <p:nvPr/>
        </p:nvSpPr>
        <p:spPr>
          <a:xfrm>
            <a:off x="7570643" y="1108165"/>
            <a:ext cx="3986429" cy="344212"/>
          </a:xfrm>
          <a:prstGeom prst="rect">
            <a:avLst/>
          </a:prstGeom>
        </p:spPr>
        <p:txBody>
          <a:bodyPr vert="horz" lIns="0" tIns="45708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100" b="1" spc="300">
                <a:solidFill>
                  <a:schemeClr val="accent1"/>
                </a:solidFill>
                <a:cs typeface="Calibri" panose="020F0502020204030204" pitchFamily="34" charset="0"/>
              </a:rPr>
              <a:t>The Data Platform will deliver enterprise capabilities</a:t>
            </a:r>
            <a:endParaRPr lang="en-US" sz="1100" spc="0">
              <a:solidFill>
                <a:schemeClr val="accent1"/>
              </a:solidFill>
              <a:cs typeface="Calibri" panose="020F050202020403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591AA9E-73CE-43A2-8D59-D7C0AB100375}"/>
              </a:ext>
            </a:extLst>
          </p:cNvPr>
          <p:cNvSpPr txBox="1">
            <a:spLocks/>
          </p:cNvSpPr>
          <p:nvPr/>
        </p:nvSpPr>
        <p:spPr>
          <a:xfrm>
            <a:off x="7583917" y="1575742"/>
            <a:ext cx="3973155" cy="2324864"/>
          </a:xfrm>
          <a:prstGeom prst="rect">
            <a:avLst/>
          </a:prstGeom>
        </p:spPr>
        <p:txBody>
          <a:bodyPr vert="horz" lIns="0" tIns="45708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171450" indent="-1714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tx1">
                    <a:lumMod val="75000"/>
                    <a:lumOff val="25000"/>
                  </a:schemeClr>
                </a:solidFill>
              </a:rPr>
              <a:t>Proactive and On demand Data  Planning  </a:t>
            </a:r>
          </a:p>
          <a:p>
            <a:pPr marL="171450" indent="-1714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Data Stewardship </a:t>
            </a:r>
          </a:p>
          <a:p>
            <a:pPr marL="171450" indent="-1714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roduct Services</a:t>
            </a:r>
          </a:p>
          <a:p>
            <a:pPr marL="171450" indent="-1714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Data Delivery and Consumption </a:t>
            </a:r>
          </a:p>
          <a:p>
            <a:pPr marL="171450" indent="-1714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Infrastructure and Technology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D2B12A2-D938-4A0B-A196-2ACE1946AFA3}"/>
              </a:ext>
            </a:extLst>
          </p:cNvPr>
          <p:cNvCxnSpPr>
            <a:cxnSpLocks/>
          </p:cNvCxnSpPr>
          <p:nvPr/>
        </p:nvCxnSpPr>
        <p:spPr>
          <a:xfrm>
            <a:off x="453869" y="921737"/>
            <a:ext cx="6914291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05D13103-C1D3-4353-B757-A4F8FA324C0A}"/>
              </a:ext>
            </a:extLst>
          </p:cNvPr>
          <p:cNvSpPr txBox="1">
            <a:spLocks/>
          </p:cNvSpPr>
          <p:nvPr/>
        </p:nvSpPr>
        <p:spPr>
          <a:xfrm>
            <a:off x="3557819" y="784577"/>
            <a:ext cx="1097280" cy="27432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algn="ctr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spc="300">
                <a:solidFill>
                  <a:schemeClr val="bg1"/>
                </a:solidFill>
                <a:cs typeface="Calibri" panose="020F0502020204030204" pitchFamily="34" charset="0"/>
              </a:rPr>
              <a:t>VISION</a:t>
            </a:r>
            <a:endParaRPr lang="en-US" sz="1200" spc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428F22F-9263-4961-A846-941A98BEC3DF}"/>
              </a:ext>
            </a:extLst>
          </p:cNvPr>
          <p:cNvSpPr txBox="1">
            <a:spLocks/>
          </p:cNvSpPr>
          <p:nvPr/>
        </p:nvSpPr>
        <p:spPr>
          <a:xfrm>
            <a:off x="597127" y="1575742"/>
            <a:ext cx="6647742" cy="2201834"/>
          </a:xfrm>
          <a:prstGeom prst="rect">
            <a:avLst/>
          </a:prstGeom>
        </p:spPr>
        <p:txBody>
          <a:bodyPr vert="horz" lIns="0" tIns="45708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285750" indent="-285750" defTabSz="91412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spc="0">
                <a:solidFill>
                  <a:srgbClr val="CF1A1A"/>
                </a:solidFill>
                <a:cs typeface="Calibri" panose="020F0502020204030204" pitchFamily="34" charset="0"/>
              </a:rPr>
              <a:t>Democratize data </a:t>
            </a: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by increasing timely access to enterprise data </a:t>
            </a:r>
          </a:p>
          <a:p>
            <a:pPr marL="285750" indent="-285750" defTabSz="91412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spc="0">
                <a:solidFill>
                  <a:srgbClr val="C00000"/>
                </a:solidFill>
                <a:cs typeface="Calibri" panose="020F0502020204030204" pitchFamily="34" charset="0"/>
              </a:rPr>
              <a:t>Provide a longitudinal view </a:t>
            </a: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of consumers, providers, and plan sponsors across all CVSH touchpoints</a:t>
            </a:r>
          </a:p>
          <a:p>
            <a:pPr marL="285750" indent="-285750" defTabSz="91412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spc="0">
                <a:solidFill>
                  <a:srgbClr val="C00000"/>
                </a:solidFill>
                <a:cs typeface="Calibri" panose="020F0502020204030204" pitchFamily="34" charset="0"/>
              </a:rPr>
              <a:t>Accelerate and improve insights </a:t>
            </a: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by quickly integrating Line of Business data</a:t>
            </a:r>
          </a:p>
          <a:p>
            <a:pPr marL="285750" indent="-285750" defTabSz="91412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spc="0">
                <a:solidFill>
                  <a:srgbClr val="C00000"/>
                </a:solidFill>
                <a:cs typeface="Calibri" panose="020F0502020204030204" pitchFamily="34" charset="0"/>
              </a:rPr>
              <a:t>Drive operational excellence and transparency </a:t>
            </a: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through self-service and visualizations</a:t>
            </a:r>
          </a:p>
          <a:p>
            <a:pPr marL="285750" indent="-285750" defTabSz="914126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spc="0">
                <a:solidFill>
                  <a:srgbClr val="C00000"/>
                </a:solidFill>
                <a:ea typeface="+mj-lt"/>
                <a:cs typeface="Calibri"/>
              </a:rPr>
              <a:t>Protect the integrity and security </a:t>
            </a:r>
            <a:r>
              <a:rPr lang="en-US" sz="1200" spc="0">
                <a:solidFill>
                  <a:schemeClr val="tx1">
                    <a:lumMod val="75000"/>
                    <a:lumOff val="25000"/>
                  </a:schemeClr>
                </a:solidFill>
                <a:ea typeface="+mj-lt"/>
                <a:cs typeface="Calibri"/>
              </a:rPr>
              <a:t>of our enterprise and consumer data</a:t>
            </a:r>
            <a:endParaRPr lang="en-US" sz="1400" spc="0" baseline="3000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  <a:p>
            <a:pPr marL="285750" indent="-285750" defTabSz="914126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spc="0" baseline="3000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41FD667-2AAF-439F-B24D-F6DB4D22EA5D}"/>
              </a:ext>
            </a:extLst>
          </p:cNvPr>
          <p:cNvSpPr txBox="1">
            <a:spLocks/>
          </p:cNvSpPr>
          <p:nvPr/>
        </p:nvSpPr>
        <p:spPr>
          <a:xfrm>
            <a:off x="623539" y="3990783"/>
            <a:ext cx="10514651" cy="561702"/>
          </a:xfrm>
          <a:prstGeom prst="rect">
            <a:avLst/>
          </a:prstGeom>
        </p:spPr>
        <p:txBody>
          <a:bodyPr vert="horz" lIns="0" tIns="45708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spc="300">
                <a:solidFill>
                  <a:schemeClr val="accent3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The Data Platform is a critical enabler of CVSH’s enterprise priorities … </a:t>
            </a:r>
            <a:endParaRPr lang="en-US" sz="1200" spc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285750" indent="-2857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spc="0" baseline="3000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285750" indent="-285750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spc="0" baseline="3000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85884D-0FB8-4EEB-A854-2E325FA512AD}"/>
              </a:ext>
            </a:extLst>
          </p:cNvPr>
          <p:cNvSpPr/>
          <p:nvPr/>
        </p:nvSpPr>
        <p:spPr>
          <a:xfrm>
            <a:off x="9555713" y="4437093"/>
            <a:ext cx="1642856" cy="1698976"/>
          </a:xfrm>
          <a:prstGeom prst="rect">
            <a:avLst/>
          </a:prstGeom>
          <a:solidFill>
            <a:schemeClr val="accent1">
              <a:lumMod val="20000"/>
              <a:lumOff val="8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9600DE4-E4FA-4284-ACA4-A3F0275E03BF}"/>
              </a:ext>
            </a:extLst>
          </p:cNvPr>
          <p:cNvSpPr/>
          <p:nvPr/>
        </p:nvSpPr>
        <p:spPr>
          <a:xfrm>
            <a:off x="7754600" y="4437093"/>
            <a:ext cx="1642856" cy="1698976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81B2D0-2B4B-43CB-8F5D-9D0B2EEB88E9}"/>
              </a:ext>
            </a:extLst>
          </p:cNvPr>
          <p:cNvSpPr/>
          <p:nvPr/>
        </p:nvSpPr>
        <p:spPr>
          <a:xfrm>
            <a:off x="5953488" y="4437093"/>
            <a:ext cx="1642856" cy="1698976"/>
          </a:xfrm>
          <a:prstGeom prst="rect">
            <a:avLst/>
          </a:prstGeom>
          <a:solidFill>
            <a:schemeClr val="accent1">
              <a:lumMod val="20000"/>
              <a:lumOff val="8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6888B0-E61F-4375-9C8F-A6F5EB08A4E3}"/>
              </a:ext>
            </a:extLst>
          </p:cNvPr>
          <p:cNvSpPr/>
          <p:nvPr/>
        </p:nvSpPr>
        <p:spPr>
          <a:xfrm>
            <a:off x="4152377" y="4437093"/>
            <a:ext cx="1642856" cy="1698976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ACB724-13BE-4F30-91F2-27E516765E86}"/>
              </a:ext>
            </a:extLst>
          </p:cNvPr>
          <p:cNvSpPr/>
          <p:nvPr/>
        </p:nvSpPr>
        <p:spPr>
          <a:xfrm>
            <a:off x="2351266" y="4437093"/>
            <a:ext cx="1642856" cy="1698976"/>
          </a:xfrm>
          <a:prstGeom prst="rect">
            <a:avLst/>
          </a:prstGeom>
          <a:solidFill>
            <a:srgbClr val="FE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2BB85F6-C3BE-430D-8EDF-1D4741331177}"/>
              </a:ext>
            </a:extLst>
          </p:cNvPr>
          <p:cNvSpPr/>
          <p:nvPr/>
        </p:nvSpPr>
        <p:spPr>
          <a:xfrm>
            <a:off x="550155" y="4437093"/>
            <a:ext cx="1642856" cy="1698976"/>
          </a:xfrm>
          <a:prstGeom prst="rect">
            <a:avLst/>
          </a:prstGeom>
          <a:solidFill>
            <a:schemeClr val="accent1">
              <a:lumMod val="20000"/>
              <a:lumOff val="80000"/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F7891EF-777D-4CFA-8640-785E378A4CE8}"/>
              </a:ext>
            </a:extLst>
          </p:cNvPr>
          <p:cNvSpPr/>
          <p:nvPr/>
        </p:nvSpPr>
        <p:spPr>
          <a:xfrm>
            <a:off x="9555713" y="5638618"/>
            <a:ext cx="16428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</a:rPr>
              <a:t>Optimize performance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F902A643-9EEA-4E5E-A3DA-B0F27A40EC9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52661" y="4997057"/>
            <a:ext cx="448964" cy="465393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1580BE0E-6B83-4B91-9746-98B87DD45A87}"/>
              </a:ext>
            </a:extLst>
          </p:cNvPr>
          <p:cNvSpPr/>
          <p:nvPr/>
        </p:nvSpPr>
        <p:spPr>
          <a:xfrm>
            <a:off x="7754600" y="5638618"/>
            <a:ext cx="16428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</a:rPr>
              <a:t>Attract</a:t>
            </a:r>
            <a:br>
              <a:rPr lang="en-US" sz="1400" kern="0">
                <a:solidFill>
                  <a:srgbClr val="3F3F3F"/>
                </a:solidFill>
              </a:rPr>
            </a:br>
            <a:r>
              <a:rPr lang="en-US" sz="1400" kern="0">
                <a:solidFill>
                  <a:srgbClr val="3F3F3F"/>
                </a:solidFill>
              </a:rPr>
              <a:t>and inspire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2EDA4B3-F43D-4F1B-960D-E770A266174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06568" y="5020903"/>
            <a:ext cx="538920" cy="426611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DB9133C1-F9E5-4C0D-9F8D-796A3706B6A9}"/>
              </a:ext>
            </a:extLst>
          </p:cNvPr>
          <p:cNvSpPr/>
          <p:nvPr/>
        </p:nvSpPr>
        <p:spPr>
          <a:xfrm>
            <a:off x="5953488" y="5638618"/>
            <a:ext cx="16428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</a:rPr>
              <a:t>Lead the</a:t>
            </a:r>
            <a:br>
              <a:rPr lang="en-US" sz="1400" kern="0">
                <a:solidFill>
                  <a:srgbClr val="3F3F3F"/>
                </a:solidFill>
              </a:rPr>
            </a:br>
            <a:r>
              <a:rPr lang="en-US" sz="1400" kern="0">
                <a:solidFill>
                  <a:srgbClr val="3F3F3F"/>
                </a:solidFill>
              </a:rPr>
              <a:t>change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8D56AB27-7EA5-4B19-8F54-810736757CA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05457" y="4955329"/>
            <a:ext cx="538920" cy="533262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3EDE44D9-68B4-4399-B37A-5E9315B98F8F}"/>
              </a:ext>
            </a:extLst>
          </p:cNvPr>
          <p:cNvSpPr/>
          <p:nvPr/>
        </p:nvSpPr>
        <p:spPr>
          <a:xfrm>
            <a:off x="4152377" y="5638618"/>
            <a:ext cx="16428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</a:rPr>
              <a:t>Improve</a:t>
            </a:r>
            <a:br>
              <a:rPr lang="en-US" sz="1400" kern="0">
                <a:solidFill>
                  <a:srgbClr val="3F3F3F"/>
                </a:solidFill>
              </a:rPr>
            </a:br>
            <a:r>
              <a:rPr lang="en-US" sz="1400" kern="0">
                <a:solidFill>
                  <a:srgbClr val="3F3F3F"/>
                </a:solidFill>
              </a:rPr>
              <a:t>health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E6DC66D7-A93A-42A7-947E-ED0DE3D314B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04345" y="5059055"/>
            <a:ext cx="538920" cy="364558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87309207-42BC-401A-BBC7-64929ECE7EA9}"/>
              </a:ext>
            </a:extLst>
          </p:cNvPr>
          <p:cNvSpPr/>
          <p:nvPr/>
        </p:nvSpPr>
        <p:spPr>
          <a:xfrm>
            <a:off x="2351266" y="5638618"/>
            <a:ext cx="16428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  <a:latin typeface="+mj-lt"/>
              </a:rPr>
              <a:t>Make it</a:t>
            </a:r>
            <a:br>
              <a:rPr lang="en-US" sz="1400" kern="0">
                <a:solidFill>
                  <a:srgbClr val="3F3F3F"/>
                </a:solidFill>
                <a:latin typeface="+mj-lt"/>
              </a:rPr>
            </a:br>
            <a:r>
              <a:rPr lang="en-US" sz="1400" kern="0">
                <a:solidFill>
                  <a:srgbClr val="3F3F3F"/>
                </a:solidFill>
                <a:latin typeface="+mj-lt"/>
              </a:rPr>
              <a:t>simple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92B59A3F-F438-4562-8E18-CFCF057D7020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03234" y="5020903"/>
            <a:ext cx="538920" cy="426611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54842D00-2F95-4E1C-8218-2EEBC7BE6178}"/>
              </a:ext>
            </a:extLst>
          </p:cNvPr>
          <p:cNvSpPr/>
          <p:nvPr/>
        </p:nvSpPr>
        <p:spPr>
          <a:xfrm>
            <a:off x="550155" y="5638618"/>
            <a:ext cx="1642856" cy="4565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  <a:latin typeface="+mj-lt"/>
              </a:rPr>
              <a:t>Be </a:t>
            </a:r>
          </a:p>
          <a:p>
            <a:pPr algn="ctr" defTabSz="913578">
              <a:spcAft>
                <a:spcPts val="200"/>
              </a:spcAft>
              <a:defRPr/>
            </a:pPr>
            <a:r>
              <a:rPr lang="en-US" sz="1400" kern="0">
                <a:solidFill>
                  <a:srgbClr val="3F3F3F"/>
                </a:solidFill>
                <a:latin typeface="+mj-lt"/>
              </a:rPr>
              <a:t>local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E32D871E-3AEE-4F95-9951-1BE1E49B8F02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2123" y="5049321"/>
            <a:ext cx="538920" cy="374291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BBB7FB19-2A4F-4DE5-8D60-5EEE06207706}"/>
              </a:ext>
            </a:extLst>
          </p:cNvPr>
          <p:cNvSpPr/>
          <p:nvPr/>
        </p:nvSpPr>
        <p:spPr>
          <a:xfrm>
            <a:off x="550153" y="4466511"/>
            <a:ext cx="1642855" cy="307481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B32C7F2-DC79-4CF9-9FFF-8A34E5CD27CA}"/>
              </a:ext>
            </a:extLst>
          </p:cNvPr>
          <p:cNvSpPr/>
          <p:nvPr/>
        </p:nvSpPr>
        <p:spPr>
          <a:xfrm>
            <a:off x="550153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CRITICAL ENABL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9CA806A-F76D-4CC4-9E9C-AECDCEA9E629}"/>
              </a:ext>
            </a:extLst>
          </p:cNvPr>
          <p:cNvSpPr/>
          <p:nvPr/>
        </p:nvSpPr>
        <p:spPr>
          <a:xfrm>
            <a:off x="550155" y="6136070"/>
            <a:ext cx="1642855" cy="56542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CC60FCF-E58D-4BDB-9704-198144D14FFE}"/>
              </a:ext>
            </a:extLst>
          </p:cNvPr>
          <p:cNvSpPr/>
          <p:nvPr/>
        </p:nvSpPr>
        <p:spPr>
          <a:xfrm>
            <a:off x="2348974" y="4497798"/>
            <a:ext cx="1642855" cy="307481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F1E9D33-CF4A-4C49-9932-E34D0D285990}"/>
              </a:ext>
            </a:extLst>
          </p:cNvPr>
          <p:cNvSpPr/>
          <p:nvPr/>
        </p:nvSpPr>
        <p:spPr>
          <a:xfrm>
            <a:off x="2348971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CRITICAL ENABL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80820B8-B0BD-46B7-B061-C83BC7347168}"/>
              </a:ext>
            </a:extLst>
          </p:cNvPr>
          <p:cNvSpPr/>
          <p:nvPr/>
        </p:nvSpPr>
        <p:spPr>
          <a:xfrm>
            <a:off x="2348972" y="6136070"/>
            <a:ext cx="1642855" cy="56542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12A5716-E0E2-4559-81CF-15EBACFC65B2}"/>
              </a:ext>
            </a:extLst>
          </p:cNvPr>
          <p:cNvSpPr/>
          <p:nvPr/>
        </p:nvSpPr>
        <p:spPr>
          <a:xfrm>
            <a:off x="4147789" y="4497798"/>
            <a:ext cx="1642855" cy="307481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500BD3A-3A99-46C6-971E-511635C078C4}"/>
              </a:ext>
            </a:extLst>
          </p:cNvPr>
          <p:cNvSpPr/>
          <p:nvPr/>
        </p:nvSpPr>
        <p:spPr>
          <a:xfrm>
            <a:off x="4147786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CRITICAL ENABL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53A47DA-95EA-40E9-B999-F29FDB23F073}"/>
              </a:ext>
            </a:extLst>
          </p:cNvPr>
          <p:cNvSpPr/>
          <p:nvPr/>
        </p:nvSpPr>
        <p:spPr>
          <a:xfrm>
            <a:off x="4147787" y="6136070"/>
            <a:ext cx="1642855" cy="56542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BA9E28C-63A4-4B23-9A0A-75C8108E27F6}"/>
              </a:ext>
            </a:extLst>
          </p:cNvPr>
          <p:cNvSpPr/>
          <p:nvPr/>
        </p:nvSpPr>
        <p:spPr>
          <a:xfrm>
            <a:off x="5955369" y="4497798"/>
            <a:ext cx="1642855" cy="307481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7727971-BF3A-4210-81F6-C24BDF56458E}"/>
              </a:ext>
            </a:extLst>
          </p:cNvPr>
          <p:cNvSpPr/>
          <p:nvPr/>
        </p:nvSpPr>
        <p:spPr>
          <a:xfrm>
            <a:off x="5955366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CRITICAL ENABL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4320500-906C-4FCE-AF56-AAEFF85C8742}"/>
              </a:ext>
            </a:extLst>
          </p:cNvPr>
          <p:cNvSpPr/>
          <p:nvPr/>
        </p:nvSpPr>
        <p:spPr>
          <a:xfrm>
            <a:off x="5955368" y="6136070"/>
            <a:ext cx="1642855" cy="56542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7855EDD-AE43-4D5D-A355-A3A8BC2A67CA}"/>
              </a:ext>
            </a:extLst>
          </p:cNvPr>
          <p:cNvSpPr/>
          <p:nvPr/>
        </p:nvSpPr>
        <p:spPr>
          <a:xfrm>
            <a:off x="7740531" y="4497798"/>
            <a:ext cx="1642855" cy="307481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B678F9B-344F-43CD-AC06-168BBD650753}"/>
              </a:ext>
            </a:extLst>
          </p:cNvPr>
          <p:cNvSpPr/>
          <p:nvPr/>
        </p:nvSpPr>
        <p:spPr>
          <a:xfrm>
            <a:off x="7740528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ENHANC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8B66D6C-CB04-4389-95DF-94A12CFDF84A}"/>
              </a:ext>
            </a:extLst>
          </p:cNvPr>
          <p:cNvSpPr/>
          <p:nvPr/>
        </p:nvSpPr>
        <p:spPr>
          <a:xfrm>
            <a:off x="7740530" y="6136070"/>
            <a:ext cx="1642855" cy="56542"/>
          </a:xfrm>
          <a:prstGeom prst="rect">
            <a:avLst/>
          </a:prstGeom>
          <a:solidFill>
            <a:srgbClr val="E9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63F2F48-E9F1-44BE-BD4F-69FC97B754DC}"/>
              </a:ext>
            </a:extLst>
          </p:cNvPr>
          <p:cNvSpPr/>
          <p:nvPr/>
        </p:nvSpPr>
        <p:spPr>
          <a:xfrm>
            <a:off x="9569787" y="4497798"/>
            <a:ext cx="1642855" cy="307481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A2CED1FB-7C0A-496A-BDDD-0B80BF3DC0A1}"/>
              </a:ext>
            </a:extLst>
          </p:cNvPr>
          <p:cNvSpPr/>
          <p:nvPr/>
        </p:nvSpPr>
        <p:spPr>
          <a:xfrm>
            <a:off x="9569784" y="4586713"/>
            <a:ext cx="1642856" cy="1692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 defTabSz="912114">
              <a:defRPr/>
            </a:pPr>
            <a:r>
              <a:rPr lang="en-US" sz="1100" b="1">
                <a:solidFill>
                  <a:schemeClr val="bg1"/>
                </a:solidFill>
              </a:rPr>
              <a:t>CRITICAL ENABLER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0ADF622-2A77-45D2-BF1B-A4B8ECF9B533}"/>
              </a:ext>
            </a:extLst>
          </p:cNvPr>
          <p:cNvSpPr/>
          <p:nvPr/>
        </p:nvSpPr>
        <p:spPr>
          <a:xfrm>
            <a:off x="9569786" y="6136070"/>
            <a:ext cx="1642855" cy="56542"/>
          </a:xfrm>
          <a:prstGeom prst="rect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63">
              <a:defRPr/>
            </a:pPr>
            <a:endParaRPr lang="en-US" sz="1799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69436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25D7A8-C597-414E-833B-F95182155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Data Platform 2.0 Business Capabilities Define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68CF52-23F2-445E-A0A0-17F8EC21BCC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r>
              <a:rPr lang="en-US" sz="2000">
                <a:latin typeface="Arial"/>
                <a:cs typeface="Arial"/>
              </a:rPr>
              <a:t>Data, Services and Technology </a:t>
            </a:r>
            <a:endParaRPr lang="en-US" sz="200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0966A1D-10A2-4611-9E08-97C25A09CB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938530"/>
              </p:ext>
            </p:extLst>
          </p:nvPr>
        </p:nvGraphicFramePr>
        <p:xfrm>
          <a:off x="404334" y="1101753"/>
          <a:ext cx="11383331" cy="560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094">
                  <a:extLst>
                    <a:ext uri="{9D8B030D-6E8A-4147-A177-3AD203B41FA5}">
                      <a16:colId xmlns:a16="http://schemas.microsoft.com/office/drawing/2014/main" val="413138849"/>
                    </a:ext>
                  </a:extLst>
                </a:gridCol>
                <a:gridCol w="2205148">
                  <a:extLst>
                    <a:ext uri="{9D8B030D-6E8A-4147-A177-3AD203B41FA5}">
                      <a16:colId xmlns:a16="http://schemas.microsoft.com/office/drawing/2014/main" val="4285932392"/>
                    </a:ext>
                  </a:extLst>
                </a:gridCol>
                <a:gridCol w="7693089">
                  <a:extLst>
                    <a:ext uri="{9D8B030D-6E8A-4147-A177-3AD203B41FA5}">
                      <a16:colId xmlns:a16="http://schemas.microsoft.com/office/drawing/2014/main" val="3067073780"/>
                    </a:ext>
                  </a:extLst>
                </a:gridCol>
              </a:tblGrid>
              <a:tr h="405075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Theme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Capability</a:t>
                      </a:r>
                    </a:p>
                  </a:txBody>
                  <a:tcPr marL="0" marR="0" marT="0" marB="0" anchor="ctr"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>
                          <a:solidFill>
                            <a:schemeClr val="tx1"/>
                          </a:solidFill>
                          <a:latin typeface="+mj-lt"/>
                        </a:rPr>
                        <a:t>Capability Description</a:t>
                      </a:r>
                    </a:p>
                  </a:txBody>
                  <a:tcPr marL="0" marR="0" marT="0" marB="0" anchor="ctr"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5828041"/>
                  </a:ext>
                </a:extLst>
              </a:tr>
              <a:tr h="716589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baseline="0">
                          <a:solidFill>
                            <a:schemeClr val="bg1"/>
                          </a:solidFill>
                          <a:latin typeface="+mj-lt"/>
                        </a:rPr>
                        <a:t>Data Planning </a:t>
                      </a: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Proactive and On Demand Data Planning 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</a:rPr>
                        <a:t>Proactively identify data needs based on strategic initiatives and future business projects. 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 prioritized roadmap for data needs for the Data Platform. 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ize on demand project-based data intake requests as needed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386527"/>
                  </a:ext>
                </a:extLst>
              </a:tr>
              <a:tr h="1970621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Data Stewardship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ablish decision rights and ownership and process to enforce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 guidelines for Data Classification and differentiating enterprise strategic data vs. local data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Provide detailed inventory of enterprise data including data descriptions, source, quality, ownership, and how to access. This capability will result from a strong metadata management program. 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oordinate domain specific enrichments and business data management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>
                          <a:solidFill>
                            <a:schemeClr val="dk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vide and support security, compliance, and privacy policies by i</a:t>
                      </a: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lating PBM/Retail/HCB data as-needed, incorporating encryption, and using a tenant model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136265"/>
                  </a:ext>
                </a:extLst>
              </a:tr>
              <a:tr h="925595">
                <a:tc rowSpan="4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ta Platform Services &amp;Technology </a:t>
                      </a:r>
                      <a:endParaRPr lang="en-US" sz="120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Product Services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effectLst/>
                          <a:latin typeface="+mn-lt"/>
                          <a:ea typeface="Calibri" panose="020F0502020204030204" pitchFamily="34" charset="0"/>
                        </a:rPr>
                        <a:t>Define and implement the Product Services including Data Catalog, Data Ingest, Data Pipeline, Egress and Data Lifecycle Managem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effectLst/>
                          <a:latin typeface="+mn-lt"/>
                          <a:ea typeface="Calibri" panose="020F0502020204030204" pitchFamily="34" charset="0"/>
                        </a:rPr>
                        <a:t>Report progress, providing milestones reached and roadblocks encountered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696870"/>
                  </a:ext>
                </a:extLst>
              </a:tr>
              <a:tr h="464970">
                <a:tc vMerge="1">
                  <a:txBody>
                    <a:bodyPr/>
                    <a:lstStyle/>
                    <a:p>
                      <a:pPr algn="ctr"/>
                      <a:endParaRPr lang="en-US" sz="1400" b="1" baseline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Data Delivery and Consumptio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vide the platform functions to deliver and enable data consumption</a:t>
                      </a:r>
                      <a:endParaRPr lang="en-US" sz="1400" b="0" kern="1200" baseline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166746"/>
                  </a:ext>
                </a:extLst>
              </a:tr>
              <a:tr h="507584">
                <a:tc vMerge="1">
                  <a:txBody>
                    <a:bodyPr/>
                    <a:lstStyle/>
                    <a:p>
                      <a:pPr algn="ctr"/>
                      <a:endParaRPr lang="en-US" sz="1400" b="1" baseline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Technology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versight of technology selections that support/enhance the data platform capabilities</a:t>
                      </a:r>
                    </a:p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sure selections are aligned with the overall Data Platform strategy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581593"/>
                  </a:ext>
                </a:extLst>
              </a:tr>
              <a:tr h="546040">
                <a:tc v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Infrastructure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sight of infrastructure strategy and operations aligned with budget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620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0172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5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4">
            <a:extLst>
              <a:ext uri="{FF2B5EF4-FFF2-40B4-BE49-F238E27FC236}">
                <a16:creationId xmlns:a16="http://schemas.microsoft.com/office/drawing/2014/main" id="{62155046-551C-492D-90FA-2A6520075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>
                <a:latin typeface="Arial"/>
                <a:cs typeface="Arial"/>
              </a:rPr>
              <a:t>What is Data Platform 2.0 ? </a:t>
            </a:r>
            <a:endParaRPr lang="en-US" sz="320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236E2F6-0D63-413E-ADFD-42C756A6A3F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849778"/>
            <a:ext cx="9687861" cy="422275"/>
          </a:xfrm>
        </p:spPr>
        <p:txBody>
          <a:bodyPr/>
          <a:lstStyle/>
          <a:p>
            <a:r>
              <a:rPr lang="en-US" sz="2000">
                <a:latin typeface="Arial"/>
                <a:cs typeface="Arial"/>
              </a:rPr>
              <a:t>Going beyond UDF/UDP</a:t>
            </a:r>
            <a:endParaRPr lang="en-US" sz="2000"/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0E0510B2-06A9-43B8-8B89-B6C584301F61}"/>
              </a:ext>
            </a:extLst>
          </p:cNvPr>
          <p:cNvSpPr txBox="1">
            <a:spLocks/>
          </p:cNvSpPr>
          <p:nvPr/>
        </p:nvSpPr>
        <p:spPr>
          <a:xfrm>
            <a:off x="321733" y="1720797"/>
            <a:ext cx="5533234" cy="45720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algn="ctr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spc="300">
                <a:solidFill>
                  <a:schemeClr val="bg1"/>
                </a:solidFill>
                <a:cs typeface="Calibri"/>
              </a:rPr>
              <a:t>The Data Platform 2.0 will... </a:t>
            </a:r>
            <a:endParaRPr lang="en-US" sz="2000" spc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5FE58316-B747-4348-BD73-072E9F3DDB28}"/>
              </a:ext>
            </a:extLst>
          </p:cNvPr>
          <p:cNvSpPr txBox="1">
            <a:spLocks/>
          </p:cNvSpPr>
          <p:nvPr/>
        </p:nvSpPr>
        <p:spPr>
          <a:xfrm>
            <a:off x="6416825" y="1720797"/>
            <a:ext cx="5656641" cy="457200"/>
          </a:xfrm>
          <a:prstGeom prst="rect">
            <a:avLst/>
          </a:prstGeom>
          <a:solidFill>
            <a:schemeClr val="accent5"/>
          </a:solidFill>
          <a:ln w="19050"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algn="ctr" defTabSz="914126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spc="300">
                <a:solidFill>
                  <a:schemeClr val="bg1"/>
                </a:solidFill>
                <a:cs typeface="Calibri"/>
              </a:rPr>
              <a:t>The Data Platform 2.0 will not… </a:t>
            </a:r>
            <a:endParaRPr lang="en-US" sz="2000" spc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3333E53-ACCE-4DEB-A65A-313653146910}"/>
              </a:ext>
            </a:extLst>
          </p:cNvPr>
          <p:cNvSpPr/>
          <p:nvPr/>
        </p:nvSpPr>
        <p:spPr>
          <a:xfrm>
            <a:off x="1191527" y="2344962"/>
            <a:ext cx="4663440" cy="830997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Provide data as an enterprise asset </a:t>
            </a:r>
            <a:r>
              <a:rPr lang="en-US" sz="1600">
                <a:latin typeface="+mj-lt"/>
                <a:cs typeface="Arial" panose="020B0604020202020204" pitchFamily="34" charset="0"/>
              </a:rPr>
              <a:t>and the strategic capabilities to use that data to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benefit CVS constituents. </a:t>
            </a:r>
            <a:endParaRPr lang="en-US" sz="1600" b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3CAD42B-0F81-49FA-9F5C-DD2BF3F47D41}"/>
              </a:ext>
            </a:extLst>
          </p:cNvPr>
          <p:cNvSpPr/>
          <p:nvPr/>
        </p:nvSpPr>
        <p:spPr>
          <a:xfrm>
            <a:off x="1191527" y="3271629"/>
            <a:ext cx="4663440" cy="830997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Enable business data and analytics needs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(e.g., data content and consumption tools) and develop enterprise approaches to address them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AA6FAC2-5DCF-4BF9-910B-3869C15BDA77}"/>
              </a:ext>
            </a:extLst>
          </p:cNvPr>
          <p:cNvSpPr/>
          <p:nvPr/>
        </p:nvSpPr>
        <p:spPr>
          <a:xfrm>
            <a:off x="1191527" y="4521728"/>
            <a:ext cx="4663440" cy="830997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Coordinate data and analytics investments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nd identify synergies to help procure funding for enterprise investments (e.g., infrastructure) 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C31C016-EF24-4157-94B3-DBB7F72C797C}"/>
              </a:ext>
            </a:extLst>
          </p:cNvPr>
          <p:cNvSpPr/>
          <p:nvPr/>
        </p:nvSpPr>
        <p:spPr>
          <a:xfrm>
            <a:off x="7056906" y="2344962"/>
            <a:ext cx="46634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Take ownership of Line of Business data assets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or replace the need for Line of Business data assets </a:t>
            </a:r>
            <a:endParaRPr lang="en-US" sz="1600" b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E747B0CA-8F9D-4659-B7A0-E8668E303081}"/>
              </a:ext>
            </a:extLst>
          </p:cNvPr>
          <p:cNvSpPr/>
          <p:nvPr/>
        </p:nvSpPr>
        <p:spPr>
          <a:xfrm>
            <a:off x="7056906" y="3271629"/>
            <a:ext cx="46634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Mandate the same solution</a:t>
            </a:r>
            <a:r>
              <a:rPr lang="en-US" sz="160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for all business and data needs, regardless of context (e.g., moving all data into the same format in the same location)</a:t>
            </a:r>
            <a:endParaRPr lang="en-US" sz="1600" b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E57E5C7-78C4-4A0A-9D06-A0CB03D45E5D}"/>
              </a:ext>
            </a:extLst>
          </p:cNvPr>
          <p:cNvSpPr/>
          <p:nvPr/>
        </p:nvSpPr>
        <p:spPr>
          <a:xfrm>
            <a:off x="7056906" y="4521728"/>
            <a:ext cx="46634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Prescribe Lines of Business investment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strategies or reallocate budgets for Line of Business initiatives</a:t>
            </a:r>
          </a:p>
          <a:p>
            <a:pPr>
              <a:buClr>
                <a:schemeClr val="accent2"/>
              </a:buClr>
              <a:buSzPct val="100000"/>
            </a:pPr>
            <a:endParaRPr lang="en-US" sz="160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Freeform 368">
            <a:extLst>
              <a:ext uri="{FF2B5EF4-FFF2-40B4-BE49-F238E27FC236}">
                <a16:creationId xmlns:a16="http://schemas.microsoft.com/office/drawing/2014/main" id="{FC4CF98F-6081-4453-8465-920231A305D9}"/>
              </a:ext>
            </a:extLst>
          </p:cNvPr>
          <p:cNvSpPr>
            <a:spLocks noEditPoints="1"/>
          </p:cNvSpPr>
          <p:nvPr/>
        </p:nvSpPr>
        <p:spPr bwMode="auto">
          <a:xfrm>
            <a:off x="680669" y="2408749"/>
            <a:ext cx="389418" cy="457200"/>
          </a:xfrm>
          <a:custGeom>
            <a:avLst/>
            <a:gdLst>
              <a:gd name="T0" fmla="*/ 65 w 79"/>
              <a:gd name="T1" fmla="*/ 29 h 93"/>
              <a:gd name="T2" fmla="*/ 35 w 79"/>
              <a:gd name="T3" fmla="*/ 93 h 93"/>
              <a:gd name="T4" fmla="*/ 0 w 79"/>
              <a:gd name="T5" fmla="*/ 62 h 93"/>
              <a:gd name="T6" fmla="*/ 15 w 79"/>
              <a:gd name="T7" fmla="*/ 40 h 93"/>
              <a:gd name="T8" fmla="*/ 40 w 79"/>
              <a:gd name="T9" fmla="*/ 43 h 93"/>
              <a:gd name="T10" fmla="*/ 79 w 79"/>
              <a:gd name="T11" fmla="*/ 6 h 93"/>
              <a:gd name="T12" fmla="*/ 56 w 79"/>
              <a:gd name="T13" fmla="*/ 22 h 93"/>
              <a:gd name="T14" fmla="*/ 38 w 79"/>
              <a:gd name="T15" fmla="*/ 54 h 93"/>
              <a:gd name="T16" fmla="*/ 17 w 79"/>
              <a:gd name="T17" fmla="*/ 43 h 93"/>
              <a:gd name="T18" fmla="*/ 18 w 79"/>
              <a:gd name="T19" fmla="*/ 58 h 93"/>
              <a:gd name="T20" fmla="*/ 39 w 79"/>
              <a:gd name="T21" fmla="*/ 74 h 93"/>
              <a:gd name="T22" fmla="*/ 69 w 79"/>
              <a:gd name="T23" fmla="*/ 3 h 93"/>
              <a:gd name="T24" fmla="*/ 36 w 79"/>
              <a:gd name="T25" fmla="*/ 50 h 93"/>
              <a:gd name="T26" fmla="*/ 7 w 79"/>
              <a:gd name="T27" fmla="*/ 54 h 93"/>
              <a:gd name="T28" fmla="*/ 7 w 79"/>
              <a:gd name="T29" fmla="*/ 54 h 93"/>
              <a:gd name="T30" fmla="*/ 8 w 79"/>
              <a:gd name="T31" fmla="*/ 56 h 93"/>
              <a:gd name="T32" fmla="*/ 7 w 79"/>
              <a:gd name="T33" fmla="*/ 64 h 93"/>
              <a:gd name="T34" fmla="*/ 12 w 79"/>
              <a:gd name="T35" fmla="*/ 56 h 93"/>
              <a:gd name="T36" fmla="*/ 12 w 79"/>
              <a:gd name="T37" fmla="*/ 68 h 93"/>
              <a:gd name="T38" fmla="*/ 18 w 79"/>
              <a:gd name="T39" fmla="*/ 61 h 93"/>
              <a:gd name="T40" fmla="*/ 14 w 79"/>
              <a:gd name="T41" fmla="*/ 58 h 93"/>
              <a:gd name="T42" fmla="*/ 12 w 79"/>
              <a:gd name="T43" fmla="*/ 69 h 93"/>
              <a:gd name="T44" fmla="*/ 15 w 79"/>
              <a:gd name="T45" fmla="*/ 75 h 93"/>
              <a:gd name="T46" fmla="*/ 19 w 79"/>
              <a:gd name="T47" fmla="*/ 65 h 93"/>
              <a:gd name="T48" fmla="*/ 18 w 79"/>
              <a:gd name="T49" fmla="*/ 78 h 93"/>
              <a:gd name="T50" fmla="*/ 22 w 79"/>
              <a:gd name="T51" fmla="*/ 69 h 93"/>
              <a:gd name="T52" fmla="*/ 19 w 79"/>
              <a:gd name="T53" fmla="*/ 81 h 93"/>
              <a:gd name="T54" fmla="*/ 24 w 79"/>
              <a:gd name="T55" fmla="*/ 71 h 93"/>
              <a:gd name="T56" fmla="*/ 22 w 79"/>
              <a:gd name="T57" fmla="*/ 85 h 93"/>
              <a:gd name="T58" fmla="*/ 22 w 79"/>
              <a:gd name="T59" fmla="*/ 85 h 93"/>
              <a:gd name="T60" fmla="*/ 35 w 79"/>
              <a:gd name="T61" fmla="*/ 78 h 93"/>
              <a:gd name="T62" fmla="*/ 36 w 79"/>
              <a:gd name="T63" fmla="*/ 77 h 93"/>
              <a:gd name="T64" fmla="*/ 26 w 79"/>
              <a:gd name="T65" fmla="*/ 90 h 93"/>
              <a:gd name="T66" fmla="*/ 32 w 79"/>
              <a:gd name="T67" fmla="*/ 77 h 93"/>
              <a:gd name="T68" fmla="*/ 34 w 79"/>
              <a:gd name="T69" fmla="*/ 80 h 93"/>
              <a:gd name="T70" fmla="*/ 34 w 79"/>
              <a:gd name="T71" fmla="*/ 80 h 93"/>
              <a:gd name="T72" fmla="*/ 33 w 79"/>
              <a:gd name="T73" fmla="*/ 83 h 93"/>
              <a:gd name="T74" fmla="*/ 33 w 79"/>
              <a:gd name="T75" fmla="*/ 90 h 93"/>
              <a:gd name="T76" fmla="*/ 33 w 79"/>
              <a:gd name="T77" fmla="*/ 9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9" h="93">
                <a:moveTo>
                  <a:pt x="79" y="6"/>
                </a:moveTo>
                <a:cubicBezTo>
                  <a:pt x="76" y="14"/>
                  <a:pt x="69" y="21"/>
                  <a:pt x="65" y="29"/>
                </a:cubicBezTo>
                <a:cubicBezTo>
                  <a:pt x="59" y="42"/>
                  <a:pt x="54" y="56"/>
                  <a:pt x="45" y="66"/>
                </a:cubicBezTo>
                <a:cubicBezTo>
                  <a:pt x="43" y="77"/>
                  <a:pt x="38" y="83"/>
                  <a:pt x="35" y="93"/>
                </a:cubicBezTo>
                <a:cubicBezTo>
                  <a:pt x="32" y="91"/>
                  <a:pt x="27" y="93"/>
                  <a:pt x="23" y="92"/>
                </a:cubicBezTo>
                <a:cubicBezTo>
                  <a:pt x="15" y="81"/>
                  <a:pt x="11" y="69"/>
                  <a:pt x="0" y="62"/>
                </a:cubicBezTo>
                <a:cubicBezTo>
                  <a:pt x="1" y="57"/>
                  <a:pt x="6" y="53"/>
                  <a:pt x="5" y="47"/>
                </a:cubicBezTo>
                <a:cubicBezTo>
                  <a:pt x="10" y="46"/>
                  <a:pt x="11" y="42"/>
                  <a:pt x="15" y="40"/>
                </a:cubicBezTo>
                <a:cubicBezTo>
                  <a:pt x="24" y="41"/>
                  <a:pt x="26" y="49"/>
                  <a:pt x="32" y="54"/>
                </a:cubicBezTo>
                <a:cubicBezTo>
                  <a:pt x="35" y="50"/>
                  <a:pt x="36" y="45"/>
                  <a:pt x="40" y="43"/>
                </a:cubicBezTo>
                <a:cubicBezTo>
                  <a:pt x="47" y="27"/>
                  <a:pt x="59" y="15"/>
                  <a:pt x="68" y="0"/>
                </a:cubicBezTo>
                <a:cubicBezTo>
                  <a:pt x="72" y="1"/>
                  <a:pt x="76" y="3"/>
                  <a:pt x="79" y="6"/>
                </a:cubicBezTo>
                <a:close/>
                <a:moveTo>
                  <a:pt x="69" y="3"/>
                </a:moveTo>
                <a:cubicBezTo>
                  <a:pt x="64" y="9"/>
                  <a:pt x="61" y="16"/>
                  <a:pt x="56" y="22"/>
                </a:cubicBezTo>
                <a:cubicBezTo>
                  <a:pt x="53" y="26"/>
                  <a:pt x="48" y="30"/>
                  <a:pt x="45" y="36"/>
                </a:cubicBezTo>
                <a:cubicBezTo>
                  <a:pt x="42" y="41"/>
                  <a:pt x="39" y="47"/>
                  <a:pt x="38" y="54"/>
                </a:cubicBezTo>
                <a:cubicBezTo>
                  <a:pt x="37" y="56"/>
                  <a:pt x="39" y="59"/>
                  <a:pt x="35" y="61"/>
                </a:cubicBezTo>
                <a:cubicBezTo>
                  <a:pt x="30" y="59"/>
                  <a:pt x="24" y="42"/>
                  <a:pt x="17" y="43"/>
                </a:cubicBezTo>
                <a:cubicBezTo>
                  <a:pt x="14" y="43"/>
                  <a:pt x="10" y="46"/>
                  <a:pt x="10" y="49"/>
                </a:cubicBezTo>
                <a:cubicBezTo>
                  <a:pt x="10" y="51"/>
                  <a:pt x="16" y="56"/>
                  <a:pt x="18" y="58"/>
                </a:cubicBezTo>
                <a:cubicBezTo>
                  <a:pt x="22" y="63"/>
                  <a:pt x="26" y="74"/>
                  <a:pt x="31" y="75"/>
                </a:cubicBezTo>
                <a:cubicBezTo>
                  <a:pt x="33" y="75"/>
                  <a:pt x="37" y="73"/>
                  <a:pt x="39" y="74"/>
                </a:cubicBezTo>
                <a:cubicBezTo>
                  <a:pt x="52" y="52"/>
                  <a:pt x="63" y="29"/>
                  <a:pt x="75" y="7"/>
                </a:cubicBezTo>
                <a:cubicBezTo>
                  <a:pt x="74" y="5"/>
                  <a:pt x="72" y="3"/>
                  <a:pt x="69" y="3"/>
                </a:cubicBezTo>
                <a:close/>
                <a:moveTo>
                  <a:pt x="35" y="56"/>
                </a:moveTo>
                <a:cubicBezTo>
                  <a:pt x="36" y="55"/>
                  <a:pt x="37" y="51"/>
                  <a:pt x="36" y="50"/>
                </a:cubicBezTo>
                <a:cubicBezTo>
                  <a:pt x="36" y="51"/>
                  <a:pt x="33" y="55"/>
                  <a:pt x="35" y="56"/>
                </a:cubicBezTo>
                <a:close/>
                <a:moveTo>
                  <a:pt x="7" y="54"/>
                </a:moveTo>
                <a:cubicBezTo>
                  <a:pt x="7" y="53"/>
                  <a:pt x="9" y="53"/>
                  <a:pt x="9" y="52"/>
                </a:cubicBezTo>
                <a:cubicBezTo>
                  <a:pt x="7" y="52"/>
                  <a:pt x="6" y="54"/>
                  <a:pt x="7" y="54"/>
                </a:cubicBezTo>
                <a:close/>
                <a:moveTo>
                  <a:pt x="5" y="63"/>
                </a:moveTo>
                <a:cubicBezTo>
                  <a:pt x="7" y="62"/>
                  <a:pt x="9" y="57"/>
                  <a:pt x="8" y="56"/>
                </a:cubicBezTo>
                <a:cubicBezTo>
                  <a:pt x="7" y="58"/>
                  <a:pt x="3" y="60"/>
                  <a:pt x="5" y="63"/>
                </a:cubicBezTo>
                <a:close/>
                <a:moveTo>
                  <a:pt x="7" y="64"/>
                </a:moveTo>
                <a:cubicBezTo>
                  <a:pt x="10" y="63"/>
                  <a:pt x="12" y="59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0" y="59"/>
                  <a:pt x="9" y="61"/>
                  <a:pt x="7" y="64"/>
                </a:cubicBezTo>
                <a:close/>
                <a:moveTo>
                  <a:pt x="12" y="68"/>
                </a:moveTo>
                <a:cubicBezTo>
                  <a:pt x="12" y="69"/>
                  <a:pt x="12" y="70"/>
                  <a:pt x="12" y="71"/>
                </a:cubicBezTo>
                <a:cubicBezTo>
                  <a:pt x="16" y="69"/>
                  <a:pt x="19" y="65"/>
                  <a:pt x="18" y="61"/>
                </a:cubicBezTo>
                <a:cubicBezTo>
                  <a:pt x="15" y="62"/>
                  <a:pt x="15" y="66"/>
                  <a:pt x="12" y="68"/>
                </a:cubicBezTo>
                <a:cubicBezTo>
                  <a:pt x="12" y="64"/>
                  <a:pt x="18" y="61"/>
                  <a:pt x="14" y="58"/>
                </a:cubicBezTo>
                <a:cubicBezTo>
                  <a:pt x="13" y="61"/>
                  <a:pt x="10" y="63"/>
                  <a:pt x="9" y="66"/>
                </a:cubicBezTo>
                <a:cubicBezTo>
                  <a:pt x="10" y="67"/>
                  <a:pt x="10" y="68"/>
                  <a:pt x="12" y="69"/>
                </a:cubicBezTo>
                <a:cubicBezTo>
                  <a:pt x="11" y="68"/>
                  <a:pt x="12" y="68"/>
                  <a:pt x="12" y="68"/>
                </a:cubicBezTo>
                <a:close/>
                <a:moveTo>
                  <a:pt x="15" y="75"/>
                </a:moveTo>
                <a:cubicBezTo>
                  <a:pt x="18" y="72"/>
                  <a:pt x="21" y="69"/>
                  <a:pt x="20" y="65"/>
                </a:cubicBezTo>
                <a:cubicBezTo>
                  <a:pt x="20" y="65"/>
                  <a:pt x="20" y="65"/>
                  <a:pt x="19" y="65"/>
                </a:cubicBezTo>
                <a:cubicBezTo>
                  <a:pt x="18" y="68"/>
                  <a:pt x="13" y="70"/>
                  <a:pt x="15" y="75"/>
                </a:cubicBezTo>
                <a:close/>
                <a:moveTo>
                  <a:pt x="18" y="78"/>
                </a:moveTo>
                <a:cubicBezTo>
                  <a:pt x="19" y="75"/>
                  <a:pt x="22" y="73"/>
                  <a:pt x="23" y="69"/>
                </a:cubicBezTo>
                <a:cubicBezTo>
                  <a:pt x="23" y="69"/>
                  <a:pt x="23" y="68"/>
                  <a:pt x="22" y="69"/>
                </a:cubicBezTo>
                <a:cubicBezTo>
                  <a:pt x="20" y="71"/>
                  <a:pt x="15" y="74"/>
                  <a:pt x="18" y="78"/>
                </a:cubicBezTo>
                <a:close/>
                <a:moveTo>
                  <a:pt x="19" y="81"/>
                </a:moveTo>
                <a:cubicBezTo>
                  <a:pt x="22" y="79"/>
                  <a:pt x="24" y="76"/>
                  <a:pt x="25" y="73"/>
                </a:cubicBezTo>
                <a:cubicBezTo>
                  <a:pt x="24" y="73"/>
                  <a:pt x="25" y="71"/>
                  <a:pt x="24" y="71"/>
                </a:cubicBezTo>
                <a:cubicBezTo>
                  <a:pt x="23" y="75"/>
                  <a:pt x="18" y="77"/>
                  <a:pt x="19" y="81"/>
                </a:cubicBezTo>
                <a:close/>
                <a:moveTo>
                  <a:pt x="22" y="85"/>
                </a:moveTo>
                <a:cubicBezTo>
                  <a:pt x="23" y="82"/>
                  <a:pt x="27" y="79"/>
                  <a:pt x="26" y="75"/>
                </a:cubicBezTo>
                <a:cubicBezTo>
                  <a:pt x="25" y="78"/>
                  <a:pt x="19" y="81"/>
                  <a:pt x="22" y="85"/>
                </a:cubicBezTo>
                <a:close/>
                <a:moveTo>
                  <a:pt x="35" y="78"/>
                </a:moveTo>
                <a:cubicBezTo>
                  <a:pt x="35" y="79"/>
                  <a:pt x="35" y="79"/>
                  <a:pt x="35" y="78"/>
                </a:cubicBezTo>
                <a:cubicBezTo>
                  <a:pt x="36" y="78"/>
                  <a:pt x="36" y="78"/>
                  <a:pt x="36" y="78"/>
                </a:cubicBezTo>
                <a:cubicBezTo>
                  <a:pt x="36" y="78"/>
                  <a:pt x="37" y="77"/>
                  <a:pt x="36" y="77"/>
                </a:cubicBezTo>
                <a:cubicBezTo>
                  <a:pt x="36" y="77"/>
                  <a:pt x="35" y="78"/>
                  <a:pt x="35" y="78"/>
                </a:cubicBezTo>
                <a:close/>
                <a:moveTo>
                  <a:pt x="26" y="90"/>
                </a:moveTo>
                <a:cubicBezTo>
                  <a:pt x="31" y="89"/>
                  <a:pt x="31" y="81"/>
                  <a:pt x="33" y="77"/>
                </a:cubicBezTo>
                <a:cubicBezTo>
                  <a:pt x="33" y="77"/>
                  <a:pt x="33" y="77"/>
                  <a:pt x="32" y="77"/>
                </a:cubicBezTo>
                <a:cubicBezTo>
                  <a:pt x="31" y="82"/>
                  <a:pt x="27" y="85"/>
                  <a:pt x="26" y="90"/>
                </a:cubicBezTo>
                <a:close/>
                <a:moveTo>
                  <a:pt x="34" y="80"/>
                </a:moveTo>
                <a:cubicBezTo>
                  <a:pt x="34" y="80"/>
                  <a:pt x="33" y="82"/>
                  <a:pt x="34" y="82"/>
                </a:cubicBezTo>
                <a:cubicBezTo>
                  <a:pt x="34" y="82"/>
                  <a:pt x="34" y="81"/>
                  <a:pt x="34" y="80"/>
                </a:cubicBezTo>
                <a:cubicBezTo>
                  <a:pt x="35" y="80"/>
                  <a:pt x="34" y="80"/>
                  <a:pt x="34" y="80"/>
                </a:cubicBezTo>
                <a:close/>
                <a:moveTo>
                  <a:pt x="33" y="83"/>
                </a:moveTo>
                <a:cubicBezTo>
                  <a:pt x="34" y="85"/>
                  <a:pt x="34" y="81"/>
                  <a:pt x="33" y="83"/>
                </a:cubicBezTo>
                <a:close/>
                <a:moveTo>
                  <a:pt x="33" y="90"/>
                </a:moveTo>
                <a:cubicBezTo>
                  <a:pt x="34" y="88"/>
                  <a:pt x="37" y="84"/>
                  <a:pt x="35" y="83"/>
                </a:cubicBezTo>
                <a:cubicBezTo>
                  <a:pt x="35" y="86"/>
                  <a:pt x="32" y="88"/>
                  <a:pt x="33" y="9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CC00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368">
            <a:extLst>
              <a:ext uri="{FF2B5EF4-FFF2-40B4-BE49-F238E27FC236}">
                <a16:creationId xmlns:a16="http://schemas.microsoft.com/office/drawing/2014/main" id="{1302AC00-6D21-43E0-80A7-07DBAF1FDC3C}"/>
              </a:ext>
            </a:extLst>
          </p:cNvPr>
          <p:cNvSpPr>
            <a:spLocks noEditPoints="1"/>
          </p:cNvSpPr>
          <p:nvPr/>
        </p:nvSpPr>
        <p:spPr bwMode="auto">
          <a:xfrm>
            <a:off x="680669" y="3458527"/>
            <a:ext cx="389418" cy="457200"/>
          </a:xfrm>
          <a:custGeom>
            <a:avLst/>
            <a:gdLst>
              <a:gd name="T0" fmla="*/ 65 w 79"/>
              <a:gd name="T1" fmla="*/ 29 h 93"/>
              <a:gd name="T2" fmla="*/ 35 w 79"/>
              <a:gd name="T3" fmla="*/ 93 h 93"/>
              <a:gd name="T4" fmla="*/ 0 w 79"/>
              <a:gd name="T5" fmla="*/ 62 h 93"/>
              <a:gd name="T6" fmla="*/ 15 w 79"/>
              <a:gd name="T7" fmla="*/ 40 h 93"/>
              <a:gd name="T8" fmla="*/ 40 w 79"/>
              <a:gd name="T9" fmla="*/ 43 h 93"/>
              <a:gd name="T10" fmla="*/ 79 w 79"/>
              <a:gd name="T11" fmla="*/ 6 h 93"/>
              <a:gd name="T12" fmla="*/ 56 w 79"/>
              <a:gd name="T13" fmla="*/ 22 h 93"/>
              <a:gd name="T14" fmla="*/ 38 w 79"/>
              <a:gd name="T15" fmla="*/ 54 h 93"/>
              <a:gd name="T16" fmla="*/ 17 w 79"/>
              <a:gd name="T17" fmla="*/ 43 h 93"/>
              <a:gd name="T18" fmla="*/ 18 w 79"/>
              <a:gd name="T19" fmla="*/ 58 h 93"/>
              <a:gd name="T20" fmla="*/ 39 w 79"/>
              <a:gd name="T21" fmla="*/ 74 h 93"/>
              <a:gd name="T22" fmla="*/ 69 w 79"/>
              <a:gd name="T23" fmla="*/ 3 h 93"/>
              <a:gd name="T24" fmla="*/ 36 w 79"/>
              <a:gd name="T25" fmla="*/ 50 h 93"/>
              <a:gd name="T26" fmla="*/ 7 w 79"/>
              <a:gd name="T27" fmla="*/ 54 h 93"/>
              <a:gd name="T28" fmla="*/ 7 w 79"/>
              <a:gd name="T29" fmla="*/ 54 h 93"/>
              <a:gd name="T30" fmla="*/ 8 w 79"/>
              <a:gd name="T31" fmla="*/ 56 h 93"/>
              <a:gd name="T32" fmla="*/ 7 w 79"/>
              <a:gd name="T33" fmla="*/ 64 h 93"/>
              <a:gd name="T34" fmla="*/ 12 w 79"/>
              <a:gd name="T35" fmla="*/ 56 h 93"/>
              <a:gd name="T36" fmla="*/ 12 w 79"/>
              <a:gd name="T37" fmla="*/ 68 h 93"/>
              <a:gd name="T38" fmla="*/ 18 w 79"/>
              <a:gd name="T39" fmla="*/ 61 h 93"/>
              <a:gd name="T40" fmla="*/ 14 w 79"/>
              <a:gd name="T41" fmla="*/ 58 h 93"/>
              <a:gd name="T42" fmla="*/ 12 w 79"/>
              <a:gd name="T43" fmla="*/ 69 h 93"/>
              <a:gd name="T44" fmla="*/ 15 w 79"/>
              <a:gd name="T45" fmla="*/ 75 h 93"/>
              <a:gd name="T46" fmla="*/ 19 w 79"/>
              <a:gd name="T47" fmla="*/ 65 h 93"/>
              <a:gd name="T48" fmla="*/ 18 w 79"/>
              <a:gd name="T49" fmla="*/ 78 h 93"/>
              <a:gd name="T50" fmla="*/ 22 w 79"/>
              <a:gd name="T51" fmla="*/ 69 h 93"/>
              <a:gd name="T52" fmla="*/ 19 w 79"/>
              <a:gd name="T53" fmla="*/ 81 h 93"/>
              <a:gd name="T54" fmla="*/ 24 w 79"/>
              <a:gd name="T55" fmla="*/ 71 h 93"/>
              <a:gd name="T56" fmla="*/ 22 w 79"/>
              <a:gd name="T57" fmla="*/ 85 h 93"/>
              <a:gd name="T58" fmla="*/ 22 w 79"/>
              <a:gd name="T59" fmla="*/ 85 h 93"/>
              <a:gd name="T60" fmla="*/ 35 w 79"/>
              <a:gd name="T61" fmla="*/ 78 h 93"/>
              <a:gd name="T62" fmla="*/ 36 w 79"/>
              <a:gd name="T63" fmla="*/ 77 h 93"/>
              <a:gd name="T64" fmla="*/ 26 w 79"/>
              <a:gd name="T65" fmla="*/ 90 h 93"/>
              <a:gd name="T66" fmla="*/ 32 w 79"/>
              <a:gd name="T67" fmla="*/ 77 h 93"/>
              <a:gd name="T68" fmla="*/ 34 w 79"/>
              <a:gd name="T69" fmla="*/ 80 h 93"/>
              <a:gd name="T70" fmla="*/ 34 w 79"/>
              <a:gd name="T71" fmla="*/ 80 h 93"/>
              <a:gd name="T72" fmla="*/ 33 w 79"/>
              <a:gd name="T73" fmla="*/ 83 h 93"/>
              <a:gd name="T74" fmla="*/ 33 w 79"/>
              <a:gd name="T75" fmla="*/ 90 h 93"/>
              <a:gd name="T76" fmla="*/ 33 w 79"/>
              <a:gd name="T77" fmla="*/ 9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9" h="93">
                <a:moveTo>
                  <a:pt x="79" y="6"/>
                </a:moveTo>
                <a:cubicBezTo>
                  <a:pt x="76" y="14"/>
                  <a:pt x="69" y="21"/>
                  <a:pt x="65" y="29"/>
                </a:cubicBezTo>
                <a:cubicBezTo>
                  <a:pt x="59" y="42"/>
                  <a:pt x="54" y="56"/>
                  <a:pt x="45" y="66"/>
                </a:cubicBezTo>
                <a:cubicBezTo>
                  <a:pt x="43" y="77"/>
                  <a:pt x="38" y="83"/>
                  <a:pt x="35" y="93"/>
                </a:cubicBezTo>
                <a:cubicBezTo>
                  <a:pt x="32" y="91"/>
                  <a:pt x="27" y="93"/>
                  <a:pt x="23" y="92"/>
                </a:cubicBezTo>
                <a:cubicBezTo>
                  <a:pt x="15" y="81"/>
                  <a:pt x="11" y="69"/>
                  <a:pt x="0" y="62"/>
                </a:cubicBezTo>
                <a:cubicBezTo>
                  <a:pt x="1" y="57"/>
                  <a:pt x="6" y="53"/>
                  <a:pt x="5" y="47"/>
                </a:cubicBezTo>
                <a:cubicBezTo>
                  <a:pt x="10" y="46"/>
                  <a:pt x="11" y="42"/>
                  <a:pt x="15" y="40"/>
                </a:cubicBezTo>
                <a:cubicBezTo>
                  <a:pt x="24" y="41"/>
                  <a:pt x="26" y="49"/>
                  <a:pt x="32" y="54"/>
                </a:cubicBezTo>
                <a:cubicBezTo>
                  <a:pt x="35" y="50"/>
                  <a:pt x="36" y="45"/>
                  <a:pt x="40" y="43"/>
                </a:cubicBezTo>
                <a:cubicBezTo>
                  <a:pt x="47" y="27"/>
                  <a:pt x="59" y="15"/>
                  <a:pt x="68" y="0"/>
                </a:cubicBezTo>
                <a:cubicBezTo>
                  <a:pt x="72" y="1"/>
                  <a:pt x="76" y="3"/>
                  <a:pt x="79" y="6"/>
                </a:cubicBezTo>
                <a:close/>
                <a:moveTo>
                  <a:pt x="69" y="3"/>
                </a:moveTo>
                <a:cubicBezTo>
                  <a:pt x="64" y="9"/>
                  <a:pt x="61" y="16"/>
                  <a:pt x="56" y="22"/>
                </a:cubicBezTo>
                <a:cubicBezTo>
                  <a:pt x="53" y="26"/>
                  <a:pt x="48" y="30"/>
                  <a:pt x="45" y="36"/>
                </a:cubicBezTo>
                <a:cubicBezTo>
                  <a:pt x="42" y="41"/>
                  <a:pt x="39" y="47"/>
                  <a:pt x="38" y="54"/>
                </a:cubicBezTo>
                <a:cubicBezTo>
                  <a:pt x="37" y="56"/>
                  <a:pt x="39" y="59"/>
                  <a:pt x="35" y="61"/>
                </a:cubicBezTo>
                <a:cubicBezTo>
                  <a:pt x="30" y="59"/>
                  <a:pt x="24" y="42"/>
                  <a:pt x="17" y="43"/>
                </a:cubicBezTo>
                <a:cubicBezTo>
                  <a:pt x="14" y="43"/>
                  <a:pt x="10" y="46"/>
                  <a:pt x="10" y="49"/>
                </a:cubicBezTo>
                <a:cubicBezTo>
                  <a:pt x="10" y="51"/>
                  <a:pt x="16" y="56"/>
                  <a:pt x="18" y="58"/>
                </a:cubicBezTo>
                <a:cubicBezTo>
                  <a:pt x="22" y="63"/>
                  <a:pt x="26" y="74"/>
                  <a:pt x="31" y="75"/>
                </a:cubicBezTo>
                <a:cubicBezTo>
                  <a:pt x="33" y="75"/>
                  <a:pt x="37" y="73"/>
                  <a:pt x="39" y="74"/>
                </a:cubicBezTo>
                <a:cubicBezTo>
                  <a:pt x="52" y="52"/>
                  <a:pt x="63" y="29"/>
                  <a:pt x="75" y="7"/>
                </a:cubicBezTo>
                <a:cubicBezTo>
                  <a:pt x="74" y="5"/>
                  <a:pt x="72" y="3"/>
                  <a:pt x="69" y="3"/>
                </a:cubicBezTo>
                <a:close/>
                <a:moveTo>
                  <a:pt x="35" y="56"/>
                </a:moveTo>
                <a:cubicBezTo>
                  <a:pt x="36" y="55"/>
                  <a:pt x="37" y="51"/>
                  <a:pt x="36" y="50"/>
                </a:cubicBezTo>
                <a:cubicBezTo>
                  <a:pt x="36" y="51"/>
                  <a:pt x="33" y="55"/>
                  <a:pt x="35" y="56"/>
                </a:cubicBezTo>
                <a:close/>
                <a:moveTo>
                  <a:pt x="7" y="54"/>
                </a:moveTo>
                <a:cubicBezTo>
                  <a:pt x="7" y="53"/>
                  <a:pt x="9" y="53"/>
                  <a:pt x="9" y="52"/>
                </a:cubicBezTo>
                <a:cubicBezTo>
                  <a:pt x="7" y="52"/>
                  <a:pt x="6" y="54"/>
                  <a:pt x="7" y="54"/>
                </a:cubicBezTo>
                <a:close/>
                <a:moveTo>
                  <a:pt x="5" y="63"/>
                </a:moveTo>
                <a:cubicBezTo>
                  <a:pt x="7" y="62"/>
                  <a:pt x="9" y="57"/>
                  <a:pt x="8" y="56"/>
                </a:cubicBezTo>
                <a:cubicBezTo>
                  <a:pt x="7" y="58"/>
                  <a:pt x="3" y="60"/>
                  <a:pt x="5" y="63"/>
                </a:cubicBezTo>
                <a:close/>
                <a:moveTo>
                  <a:pt x="7" y="64"/>
                </a:moveTo>
                <a:cubicBezTo>
                  <a:pt x="10" y="63"/>
                  <a:pt x="12" y="59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0" y="59"/>
                  <a:pt x="9" y="61"/>
                  <a:pt x="7" y="64"/>
                </a:cubicBezTo>
                <a:close/>
                <a:moveTo>
                  <a:pt x="12" y="68"/>
                </a:moveTo>
                <a:cubicBezTo>
                  <a:pt x="12" y="69"/>
                  <a:pt x="12" y="70"/>
                  <a:pt x="12" y="71"/>
                </a:cubicBezTo>
                <a:cubicBezTo>
                  <a:pt x="16" y="69"/>
                  <a:pt x="19" y="65"/>
                  <a:pt x="18" y="61"/>
                </a:cubicBezTo>
                <a:cubicBezTo>
                  <a:pt x="15" y="62"/>
                  <a:pt x="15" y="66"/>
                  <a:pt x="12" y="68"/>
                </a:cubicBezTo>
                <a:cubicBezTo>
                  <a:pt x="12" y="64"/>
                  <a:pt x="18" y="61"/>
                  <a:pt x="14" y="58"/>
                </a:cubicBezTo>
                <a:cubicBezTo>
                  <a:pt x="13" y="61"/>
                  <a:pt x="10" y="63"/>
                  <a:pt x="9" y="66"/>
                </a:cubicBezTo>
                <a:cubicBezTo>
                  <a:pt x="10" y="67"/>
                  <a:pt x="10" y="68"/>
                  <a:pt x="12" y="69"/>
                </a:cubicBezTo>
                <a:cubicBezTo>
                  <a:pt x="11" y="68"/>
                  <a:pt x="12" y="68"/>
                  <a:pt x="12" y="68"/>
                </a:cubicBezTo>
                <a:close/>
                <a:moveTo>
                  <a:pt x="15" y="75"/>
                </a:moveTo>
                <a:cubicBezTo>
                  <a:pt x="18" y="72"/>
                  <a:pt x="21" y="69"/>
                  <a:pt x="20" y="65"/>
                </a:cubicBezTo>
                <a:cubicBezTo>
                  <a:pt x="20" y="65"/>
                  <a:pt x="20" y="65"/>
                  <a:pt x="19" y="65"/>
                </a:cubicBezTo>
                <a:cubicBezTo>
                  <a:pt x="18" y="68"/>
                  <a:pt x="13" y="70"/>
                  <a:pt x="15" y="75"/>
                </a:cubicBezTo>
                <a:close/>
                <a:moveTo>
                  <a:pt x="18" y="78"/>
                </a:moveTo>
                <a:cubicBezTo>
                  <a:pt x="19" y="75"/>
                  <a:pt x="22" y="73"/>
                  <a:pt x="23" y="69"/>
                </a:cubicBezTo>
                <a:cubicBezTo>
                  <a:pt x="23" y="69"/>
                  <a:pt x="23" y="68"/>
                  <a:pt x="22" y="69"/>
                </a:cubicBezTo>
                <a:cubicBezTo>
                  <a:pt x="20" y="71"/>
                  <a:pt x="15" y="74"/>
                  <a:pt x="18" y="78"/>
                </a:cubicBezTo>
                <a:close/>
                <a:moveTo>
                  <a:pt x="19" y="81"/>
                </a:moveTo>
                <a:cubicBezTo>
                  <a:pt x="22" y="79"/>
                  <a:pt x="24" y="76"/>
                  <a:pt x="25" y="73"/>
                </a:cubicBezTo>
                <a:cubicBezTo>
                  <a:pt x="24" y="73"/>
                  <a:pt x="25" y="71"/>
                  <a:pt x="24" y="71"/>
                </a:cubicBezTo>
                <a:cubicBezTo>
                  <a:pt x="23" y="75"/>
                  <a:pt x="18" y="77"/>
                  <a:pt x="19" y="81"/>
                </a:cubicBezTo>
                <a:close/>
                <a:moveTo>
                  <a:pt x="22" y="85"/>
                </a:moveTo>
                <a:cubicBezTo>
                  <a:pt x="23" y="82"/>
                  <a:pt x="27" y="79"/>
                  <a:pt x="26" y="75"/>
                </a:cubicBezTo>
                <a:cubicBezTo>
                  <a:pt x="25" y="78"/>
                  <a:pt x="19" y="81"/>
                  <a:pt x="22" y="85"/>
                </a:cubicBezTo>
                <a:close/>
                <a:moveTo>
                  <a:pt x="35" y="78"/>
                </a:moveTo>
                <a:cubicBezTo>
                  <a:pt x="35" y="79"/>
                  <a:pt x="35" y="79"/>
                  <a:pt x="35" y="78"/>
                </a:cubicBezTo>
                <a:cubicBezTo>
                  <a:pt x="36" y="78"/>
                  <a:pt x="36" y="78"/>
                  <a:pt x="36" y="78"/>
                </a:cubicBezTo>
                <a:cubicBezTo>
                  <a:pt x="36" y="78"/>
                  <a:pt x="37" y="77"/>
                  <a:pt x="36" y="77"/>
                </a:cubicBezTo>
                <a:cubicBezTo>
                  <a:pt x="36" y="77"/>
                  <a:pt x="35" y="78"/>
                  <a:pt x="35" y="78"/>
                </a:cubicBezTo>
                <a:close/>
                <a:moveTo>
                  <a:pt x="26" y="90"/>
                </a:moveTo>
                <a:cubicBezTo>
                  <a:pt x="31" y="89"/>
                  <a:pt x="31" y="81"/>
                  <a:pt x="33" y="77"/>
                </a:cubicBezTo>
                <a:cubicBezTo>
                  <a:pt x="33" y="77"/>
                  <a:pt x="33" y="77"/>
                  <a:pt x="32" y="77"/>
                </a:cubicBezTo>
                <a:cubicBezTo>
                  <a:pt x="31" y="82"/>
                  <a:pt x="27" y="85"/>
                  <a:pt x="26" y="90"/>
                </a:cubicBezTo>
                <a:close/>
                <a:moveTo>
                  <a:pt x="34" y="80"/>
                </a:moveTo>
                <a:cubicBezTo>
                  <a:pt x="34" y="80"/>
                  <a:pt x="33" y="82"/>
                  <a:pt x="34" y="82"/>
                </a:cubicBezTo>
                <a:cubicBezTo>
                  <a:pt x="34" y="82"/>
                  <a:pt x="34" y="81"/>
                  <a:pt x="34" y="80"/>
                </a:cubicBezTo>
                <a:cubicBezTo>
                  <a:pt x="35" y="80"/>
                  <a:pt x="34" y="80"/>
                  <a:pt x="34" y="80"/>
                </a:cubicBezTo>
                <a:close/>
                <a:moveTo>
                  <a:pt x="33" y="83"/>
                </a:moveTo>
                <a:cubicBezTo>
                  <a:pt x="34" y="85"/>
                  <a:pt x="34" y="81"/>
                  <a:pt x="33" y="83"/>
                </a:cubicBezTo>
                <a:close/>
                <a:moveTo>
                  <a:pt x="33" y="90"/>
                </a:moveTo>
                <a:cubicBezTo>
                  <a:pt x="34" y="88"/>
                  <a:pt x="37" y="84"/>
                  <a:pt x="35" y="83"/>
                </a:cubicBezTo>
                <a:cubicBezTo>
                  <a:pt x="35" y="86"/>
                  <a:pt x="32" y="88"/>
                  <a:pt x="33" y="9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CC00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368">
            <a:extLst>
              <a:ext uri="{FF2B5EF4-FFF2-40B4-BE49-F238E27FC236}">
                <a16:creationId xmlns:a16="http://schemas.microsoft.com/office/drawing/2014/main" id="{19DDC3E1-AE32-4AC8-9B23-74E50B3A9C45}"/>
              </a:ext>
            </a:extLst>
          </p:cNvPr>
          <p:cNvSpPr>
            <a:spLocks noEditPoints="1"/>
          </p:cNvSpPr>
          <p:nvPr/>
        </p:nvSpPr>
        <p:spPr bwMode="auto">
          <a:xfrm>
            <a:off x="680669" y="4708626"/>
            <a:ext cx="389418" cy="457200"/>
          </a:xfrm>
          <a:custGeom>
            <a:avLst/>
            <a:gdLst>
              <a:gd name="T0" fmla="*/ 65 w 79"/>
              <a:gd name="T1" fmla="*/ 29 h 93"/>
              <a:gd name="T2" fmla="*/ 35 w 79"/>
              <a:gd name="T3" fmla="*/ 93 h 93"/>
              <a:gd name="T4" fmla="*/ 0 w 79"/>
              <a:gd name="T5" fmla="*/ 62 h 93"/>
              <a:gd name="T6" fmla="*/ 15 w 79"/>
              <a:gd name="T7" fmla="*/ 40 h 93"/>
              <a:gd name="T8" fmla="*/ 40 w 79"/>
              <a:gd name="T9" fmla="*/ 43 h 93"/>
              <a:gd name="T10" fmla="*/ 79 w 79"/>
              <a:gd name="T11" fmla="*/ 6 h 93"/>
              <a:gd name="T12" fmla="*/ 56 w 79"/>
              <a:gd name="T13" fmla="*/ 22 h 93"/>
              <a:gd name="T14" fmla="*/ 38 w 79"/>
              <a:gd name="T15" fmla="*/ 54 h 93"/>
              <a:gd name="T16" fmla="*/ 17 w 79"/>
              <a:gd name="T17" fmla="*/ 43 h 93"/>
              <a:gd name="T18" fmla="*/ 18 w 79"/>
              <a:gd name="T19" fmla="*/ 58 h 93"/>
              <a:gd name="T20" fmla="*/ 39 w 79"/>
              <a:gd name="T21" fmla="*/ 74 h 93"/>
              <a:gd name="T22" fmla="*/ 69 w 79"/>
              <a:gd name="T23" fmla="*/ 3 h 93"/>
              <a:gd name="T24" fmla="*/ 36 w 79"/>
              <a:gd name="T25" fmla="*/ 50 h 93"/>
              <a:gd name="T26" fmla="*/ 7 w 79"/>
              <a:gd name="T27" fmla="*/ 54 h 93"/>
              <a:gd name="T28" fmla="*/ 7 w 79"/>
              <a:gd name="T29" fmla="*/ 54 h 93"/>
              <a:gd name="T30" fmla="*/ 8 w 79"/>
              <a:gd name="T31" fmla="*/ 56 h 93"/>
              <a:gd name="T32" fmla="*/ 7 w 79"/>
              <a:gd name="T33" fmla="*/ 64 h 93"/>
              <a:gd name="T34" fmla="*/ 12 w 79"/>
              <a:gd name="T35" fmla="*/ 56 h 93"/>
              <a:gd name="T36" fmla="*/ 12 w 79"/>
              <a:gd name="T37" fmla="*/ 68 h 93"/>
              <a:gd name="T38" fmla="*/ 18 w 79"/>
              <a:gd name="T39" fmla="*/ 61 h 93"/>
              <a:gd name="T40" fmla="*/ 14 w 79"/>
              <a:gd name="T41" fmla="*/ 58 h 93"/>
              <a:gd name="T42" fmla="*/ 12 w 79"/>
              <a:gd name="T43" fmla="*/ 69 h 93"/>
              <a:gd name="T44" fmla="*/ 15 w 79"/>
              <a:gd name="T45" fmla="*/ 75 h 93"/>
              <a:gd name="T46" fmla="*/ 19 w 79"/>
              <a:gd name="T47" fmla="*/ 65 h 93"/>
              <a:gd name="T48" fmla="*/ 18 w 79"/>
              <a:gd name="T49" fmla="*/ 78 h 93"/>
              <a:gd name="T50" fmla="*/ 22 w 79"/>
              <a:gd name="T51" fmla="*/ 69 h 93"/>
              <a:gd name="T52" fmla="*/ 19 w 79"/>
              <a:gd name="T53" fmla="*/ 81 h 93"/>
              <a:gd name="T54" fmla="*/ 24 w 79"/>
              <a:gd name="T55" fmla="*/ 71 h 93"/>
              <a:gd name="T56" fmla="*/ 22 w 79"/>
              <a:gd name="T57" fmla="*/ 85 h 93"/>
              <a:gd name="T58" fmla="*/ 22 w 79"/>
              <a:gd name="T59" fmla="*/ 85 h 93"/>
              <a:gd name="T60" fmla="*/ 35 w 79"/>
              <a:gd name="T61" fmla="*/ 78 h 93"/>
              <a:gd name="T62" fmla="*/ 36 w 79"/>
              <a:gd name="T63" fmla="*/ 77 h 93"/>
              <a:gd name="T64" fmla="*/ 26 w 79"/>
              <a:gd name="T65" fmla="*/ 90 h 93"/>
              <a:gd name="T66" fmla="*/ 32 w 79"/>
              <a:gd name="T67" fmla="*/ 77 h 93"/>
              <a:gd name="T68" fmla="*/ 34 w 79"/>
              <a:gd name="T69" fmla="*/ 80 h 93"/>
              <a:gd name="T70" fmla="*/ 34 w 79"/>
              <a:gd name="T71" fmla="*/ 80 h 93"/>
              <a:gd name="T72" fmla="*/ 33 w 79"/>
              <a:gd name="T73" fmla="*/ 83 h 93"/>
              <a:gd name="T74" fmla="*/ 33 w 79"/>
              <a:gd name="T75" fmla="*/ 90 h 93"/>
              <a:gd name="T76" fmla="*/ 33 w 79"/>
              <a:gd name="T77" fmla="*/ 9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9" h="93">
                <a:moveTo>
                  <a:pt x="79" y="6"/>
                </a:moveTo>
                <a:cubicBezTo>
                  <a:pt x="76" y="14"/>
                  <a:pt x="69" y="21"/>
                  <a:pt x="65" y="29"/>
                </a:cubicBezTo>
                <a:cubicBezTo>
                  <a:pt x="59" y="42"/>
                  <a:pt x="54" y="56"/>
                  <a:pt x="45" y="66"/>
                </a:cubicBezTo>
                <a:cubicBezTo>
                  <a:pt x="43" y="77"/>
                  <a:pt x="38" y="83"/>
                  <a:pt x="35" y="93"/>
                </a:cubicBezTo>
                <a:cubicBezTo>
                  <a:pt x="32" y="91"/>
                  <a:pt x="27" y="93"/>
                  <a:pt x="23" y="92"/>
                </a:cubicBezTo>
                <a:cubicBezTo>
                  <a:pt x="15" y="81"/>
                  <a:pt x="11" y="69"/>
                  <a:pt x="0" y="62"/>
                </a:cubicBezTo>
                <a:cubicBezTo>
                  <a:pt x="1" y="57"/>
                  <a:pt x="6" y="53"/>
                  <a:pt x="5" y="47"/>
                </a:cubicBezTo>
                <a:cubicBezTo>
                  <a:pt x="10" y="46"/>
                  <a:pt x="11" y="42"/>
                  <a:pt x="15" y="40"/>
                </a:cubicBezTo>
                <a:cubicBezTo>
                  <a:pt x="24" y="41"/>
                  <a:pt x="26" y="49"/>
                  <a:pt x="32" y="54"/>
                </a:cubicBezTo>
                <a:cubicBezTo>
                  <a:pt x="35" y="50"/>
                  <a:pt x="36" y="45"/>
                  <a:pt x="40" y="43"/>
                </a:cubicBezTo>
                <a:cubicBezTo>
                  <a:pt x="47" y="27"/>
                  <a:pt x="59" y="15"/>
                  <a:pt x="68" y="0"/>
                </a:cubicBezTo>
                <a:cubicBezTo>
                  <a:pt x="72" y="1"/>
                  <a:pt x="76" y="3"/>
                  <a:pt x="79" y="6"/>
                </a:cubicBezTo>
                <a:close/>
                <a:moveTo>
                  <a:pt x="69" y="3"/>
                </a:moveTo>
                <a:cubicBezTo>
                  <a:pt x="64" y="9"/>
                  <a:pt x="61" y="16"/>
                  <a:pt x="56" y="22"/>
                </a:cubicBezTo>
                <a:cubicBezTo>
                  <a:pt x="53" y="26"/>
                  <a:pt x="48" y="30"/>
                  <a:pt x="45" y="36"/>
                </a:cubicBezTo>
                <a:cubicBezTo>
                  <a:pt x="42" y="41"/>
                  <a:pt x="39" y="47"/>
                  <a:pt x="38" y="54"/>
                </a:cubicBezTo>
                <a:cubicBezTo>
                  <a:pt x="37" y="56"/>
                  <a:pt x="39" y="59"/>
                  <a:pt x="35" y="61"/>
                </a:cubicBezTo>
                <a:cubicBezTo>
                  <a:pt x="30" y="59"/>
                  <a:pt x="24" y="42"/>
                  <a:pt x="17" y="43"/>
                </a:cubicBezTo>
                <a:cubicBezTo>
                  <a:pt x="14" y="43"/>
                  <a:pt x="10" y="46"/>
                  <a:pt x="10" y="49"/>
                </a:cubicBezTo>
                <a:cubicBezTo>
                  <a:pt x="10" y="51"/>
                  <a:pt x="16" y="56"/>
                  <a:pt x="18" y="58"/>
                </a:cubicBezTo>
                <a:cubicBezTo>
                  <a:pt x="22" y="63"/>
                  <a:pt x="26" y="74"/>
                  <a:pt x="31" y="75"/>
                </a:cubicBezTo>
                <a:cubicBezTo>
                  <a:pt x="33" y="75"/>
                  <a:pt x="37" y="73"/>
                  <a:pt x="39" y="74"/>
                </a:cubicBezTo>
                <a:cubicBezTo>
                  <a:pt x="52" y="52"/>
                  <a:pt x="63" y="29"/>
                  <a:pt x="75" y="7"/>
                </a:cubicBezTo>
                <a:cubicBezTo>
                  <a:pt x="74" y="5"/>
                  <a:pt x="72" y="3"/>
                  <a:pt x="69" y="3"/>
                </a:cubicBezTo>
                <a:close/>
                <a:moveTo>
                  <a:pt x="35" y="56"/>
                </a:moveTo>
                <a:cubicBezTo>
                  <a:pt x="36" y="55"/>
                  <a:pt x="37" y="51"/>
                  <a:pt x="36" y="50"/>
                </a:cubicBezTo>
                <a:cubicBezTo>
                  <a:pt x="36" y="51"/>
                  <a:pt x="33" y="55"/>
                  <a:pt x="35" y="56"/>
                </a:cubicBezTo>
                <a:close/>
                <a:moveTo>
                  <a:pt x="7" y="54"/>
                </a:moveTo>
                <a:cubicBezTo>
                  <a:pt x="7" y="53"/>
                  <a:pt x="9" y="53"/>
                  <a:pt x="9" y="52"/>
                </a:cubicBezTo>
                <a:cubicBezTo>
                  <a:pt x="7" y="52"/>
                  <a:pt x="6" y="54"/>
                  <a:pt x="7" y="54"/>
                </a:cubicBezTo>
                <a:close/>
                <a:moveTo>
                  <a:pt x="5" y="63"/>
                </a:moveTo>
                <a:cubicBezTo>
                  <a:pt x="7" y="62"/>
                  <a:pt x="9" y="57"/>
                  <a:pt x="8" y="56"/>
                </a:cubicBezTo>
                <a:cubicBezTo>
                  <a:pt x="7" y="58"/>
                  <a:pt x="3" y="60"/>
                  <a:pt x="5" y="63"/>
                </a:cubicBezTo>
                <a:close/>
                <a:moveTo>
                  <a:pt x="7" y="64"/>
                </a:moveTo>
                <a:cubicBezTo>
                  <a:pt x="10" y="63"/>
                  <a:pt x="12" y="59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0" y="59"/>
                  <a:pt x="9" y="61"/>
                  <a:pt x="7" y="64"/>
                </a:cubicBezTo>
                <a:close/>
                <a:moveTo>
                  <a:pt x="12" y="68"/>
                </a:moveTo>
                <a:cubicBezTo>
                  <a:pt x="12" y="69"/>
                  <a:pt x="12" y="70"/>
                  <a:pt x="12" y="71"/>
                </a:cubicBezTo>
                <a:cubicBezTo>
                  <a:pt x="16" y="69"/>
                  <a:pt x="19" y="65"/>
                  <a:pt x="18" y="61"/>
                </a:cubicBezTo>
                <a:cubicBezTo>
                  <a:pt x="15" y="62"/>
                  <a:pt x="15" y="66"/>
                  <a:pt x="12" y="68"/>
                </a:cubicBezTo>
                <a:cubicBezTo>
                  <a:pt x="12" y="64"/>
                  <a:pt x="18" y="61"/>
                  <a:pt x="14" y="58"/>
                </a:cubicBezTo>
                <a:cubicBezTo>
                  <a:pt x="13" y="61"/>
                  <a:pt x="10" y="63"/>
                  <a:pt x="9" y="66"/>
                </a:cubicBezTo>
                <a:cubicBezTo>
                  <a:pt x="10" y="67"/>
                  <a:pt x="10" y="68"/>
                  <a:pt x="12" y="69"/>
                </a:cubicBezTo>
                <a:cubicBezTo>
                  <a:pt x="11" y="68"/>
                  <a:pt x="12" y="68"/>
                  <a:pt x="12" y="68"/>
                </a:cubicBezTo>
                <a:close/>
                <a:moveTo>
                  <a:pt x="15" y="75"/>
                </a:moveTo>
                <a:cubicBezTo>
                  <a:pt x="18" y="72"/>
                  <a:pt x="21" y="69"/>
                  <a:pt x="20" y="65"/>
                </a:cubicBezTo>
                <a:cubicBezTo>
                  <a:pt x="20" y="65"/>
                  <a:pt x="20" y="65"/>
                  <a:pt x="19" y="65"/>
                </a:cubicBezTo>
                <a:cubicBezTo>
                  <a:pt x="18" y="68"/>
                  <a:pt x="13" y="70"/>
                  <a:pt x="15" y="75"/>
                </a:cubicBezTo>
                <a:close/>
                <a:moveTo>
                  <a:pt x="18" y="78"/>
                </a:moveTo>
                <a:cubicBezTo>
                  <a:pt x="19" y="75"/>
                  <a:pt x="22" y="73"/>
                  <a:pt x="23" y="69"/>
                </a:cubicBezTo>
                <a:cubicBezTo>
                  <a:pt x="23" y="69"/>
                  <a:pt x="23" y="68"/>
                  <a:pt x="22" y="69"/>
                </a:cubicBezTo>
                <a:cubicBezTo>
                  <a:pt x="20" y="71"/>
                  <a:pt x="15" y="74"/>
                  <a:pt x="18" y="78"/>
                </a:cubicBezTo>
                <a:close/>
                <a:moveTo>
                  <a:pt x="19" y="81"/>
                </a:moveTo>
                <a:cubicBezTo>
                  <a:pt x="22" y="79"/>
                  <a:pt x="24" y="76"/>
                  <a:pt x="25" y="73"/>
                </a:cubicBezTo>
                <a:cubicBezTo>
                  <a:pt x="24" y="73"/>
                  <a:pt x="25" y="71"/>
                  <a:pt x="24" y="71"/>
                </a:cubicBezTo>
                <a:cubicBezTo>
                  <a:pt x="23" y="75"/>
                  <a:pt x="18" y="77"/>
                  <a:pt x="19" y="81"/>
                </a:cubicBezTo>
                <a:close/>
                <a:moveTo>
                  <a:pt x="22" y="85"/>
                </a:moveTo>
                <a:cubicBezTo>
                  <a:pt x="23" y="82"/>
                  <a:pt x="27" y="79"/>
                  <a:pt x="26" y="75"/>
                </a:cubicBezTo>
                <a:cubicBezTo>
                  <a:pt x="25" y="78"/>
                  <a:pt x="19" y="81"/>
                  <a:pt x="22" y="85"/>
                </a:cubicBezTo>
                <a:close/>
                <a:moveTo>
                  <a:pt x="35" y="78"/>
                </a:moveTo>
                <a:cubicBezTo>
                  <a:pt x="35" y="79"/>
                  <a:pt x="35" y="79"/>
                  <a:pt x="35" y="78"/>
                </a:cubicBezTo>
                <a:cubicBezTo>
                  <a:pt x="36" y="78"/>
                  <a:pt x="36" y="78"/>
                  <a:pt x="36" y="78"/>
                </a:cubicBezTo>
                <a:cubicBezTo>
                  <a:pt x="36" y="78"/>
                  <a:pt x="37" y="77"/>
                  <a:pt x="36" y="77"/>
                </a:cubicBezTo>
                <a:cubicBezTo>
                  <a:pt x="36" y="77"/>
                  <a:pt x="35" y="78"/>
                  <a:pt x="35" y="78"/>
                </a:cubicBezTo>
                <a:close/>
                <a:moveTo>
                  <a:pt x="26" y="90"/>
                </a:moveTo>
                <a:cubicBezTo>
                  <a:pt x="31" y="89"/>
                  <a:pt x="31" y="81"/>
                  <a:pt x="33" y="77"/>
                </a:cubicBezTo>
                <a:cubicBezTo>
                  <a:pt x="33" y="77"/>
                  <a:pt x="33" y="77"/>
                  <a:pt x="32" y="77"/>
                </a:cubicBezTo>
                <a:cubicBezTo>
                  <a:pt x="31" y="82"/>
                  <a:pt x="27" y="85"/>
                  <a:pt x="26" y="90"/>
                </a:cubicBezTo>
                <a:close/>
                <a:moveTo>
                  <a:pt x="34" y="80"/>
                </a:moveTo>
                <a:cubicBezTo>
                  <a:pt x="34" y="80"/>
                  <a:pt x="33" y="82"/>
                  <a:pt x="34" y="82"/>
                </a:cubicBezTo>
                <a:cubicBezTo>
                  <a:pt x="34" y="82"/>
                  <a:pt x="34" y="81"/>
                  <a:pt x="34" y="80"/>
                </a:cubicBezTo>
                <a:cubicBezTo>
                  <a:pt x="35" y="80"/>
                  <a:pt x="34" y="80"/>
                  <a:pt x="34" y="80"/>
                </a:cubicBezTo>
                <a:close/>
                <a:moveTo>
                  <a:pt x="33" y="83"/>
                </a:moveTo>
                <a:cubicBezTo>
                  <a:pt x="34" y="85"/>
                  <a:pt x="34" y="81"/>
                  <a:pt x="33" y="83"/>
                </a:cubicBezTo>
                <a:close/>
                <a:moveTo>
                  <a:pt x="33" y="90"/>
                </a:moveTo>
                <a:cubicBezTo>
                  <a:pt x="34" y="88"/>
                  <a:pt x="37" y="84"/>
                  <a:pt x="35" y="83"/>
                </a:cubicBezTo>
                <a:cubicBezTo>
                  <a:pt x="35" y="86"/>
                  <a:pt x="32" y="88"/>
                  <a:pt x="33" y="9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CC00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98">
            <a:extLst>
              <a:ext uri="{FF2B5EF4-FFF2-40B4-BE49-F238E27FC236}">
                <a16:creationId xmlns:a16="http://schemas.microsoft.com/office/drawing/2014/main" id="{69E47A39-F857-45DC-9F92-2F32C25083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0137" y="3412807"/>
            <a:ext cx="586769" cy="548640"/>
          </a:xfrm>
          <a:custGeom>
            <a:avLst/>
            <a:gdLst>
              <a:gd name="T0" fmla="*/ 45 w 75"/>
              <a:gd name="T1" fmla="*/ 48 h 70"/>
              <a:gd name="T2" fmla="*/ 24 w 75"/>
              <a:gd name="T3" fmla="*/ 70 h 70"/>
              <a:gd name="T4" fmla="*/ 16 w 75"/>
              <a:gd name="T5" fmla="*/ 49 h 70"/>
              <a:gd name="T6" fmla="*/ 10 w 75"/>
              <a:gd name="T7" fmla="*/ 13 h 70"/>
              <a:gd name="T8" fmla="*/ 57 w 75"/>
              <a:gd name="T9" fmla="*/ 0 h 70"/>
              <a:gd name="T10" fmla="*/ 75 w 75"/>
              <a:gd name="T11" fmla="*/ 47 h 70"/>
              <a:gd name="T12" fmla="*/ 41 w 75"/>
              <a:gd name="T13" fmla="*/ 23 h 70"/>
              <a:gd name="T14" fmla="*/ 71 w 75"/>
              <a:gd name="T15" fmla="*/ 50 h 70"/>
              <a:gd name="T16" fmla="*/ 64 w 75"/>
              <a:gd name="T17" fmla="*/ 8 h 70"/>
              <a:gd name="T18" fmla="*/ 65 w 75"/>
              <a:gd name="T19" fmla="*/ 16 h 70"/>
              <a:gd name="T20" fmla="*/ 47 w 75"/>
              <a:gd name="T21" fmla="*/ 14 h 70"/>
              <a:gd name="T22" fmla="*/ 62 w 75"/>
              <a:gd name="T23" fmla="*/ 21 h 70"/>
              <a:gd name="T24" fmla="*/ 64 w 75"/>
              <a:gd name="T25" fmla="*/ 19 h 70"/>
              <a:gd name="T26" fmla="*/ 64 w 75"/>
              <a:gd name="T27" fmla="*/ 45 h 70"/>
              <a:gd name="T28" fmla="*/ 23 w 75"/>
              <a:gd name="T29" fmla="*/ 14 h 70"/>
              <a:gd name="T30" fmla="*/ 70 w 75"/>
              <a:gd name="T31" fmla="*/ 51 h 70"/>
              <a:gd name="T32" fmla="*/ 15 w 75"/>
              <a:gd name="T33" fmla="*/ 10 h 70"/>
              <a:gd name="T34" fmla="*/ 66 w 75"/>
              <a:gd name="T35" fmla="*/ 54 h 70"/>
              <a:gd name="T36" fmla="*/ 65 w 75"/>
              <a:gd name="T37" fmla="*/ 56 h 70"/>
              <a:gd name="T38" fmla="*/ 13 w 75"/>
              <a:gd name="T39" fmla="*/ 14 h 70"/>
              <a:gd name="T40" fmla="*/ 65 w 75"/>
              <a:gd name="T41" fmla="*/ 57 h 70"/>
              <a:gd name="T42" fmla="*/ 49 w 75"/>
              <a:gd name="T43" fmla="*/ 50 h 70"/>
              <a:gd name="T44" fmla="*/ 57 w 75"/>
              <a:gd name="T45" fmla="*/ 56 h 70"/>
              <a:gd name="T46" fmla="*/ 29 w 75"/>
              <a:gd name="T47" fmla="*/ 30 h 70"/>
              <a:gd name="T48" fmla="*/ 46 w 75"/>
              <a:gd name="T49" fmla="*/ 15 h 70"/>
              <a:gd name="T50" fmla="*/ 46 w 75"/>
              <a:gd name="T51" fmla="*/ 15 h 70"/>
              <a:gd name="T52" fmla="*/ 54 w 75"/>
              <a:gd name="T53" fmla="*/ 30 h 70"/>
              <a:gd name="T54" fmla="*/ 51 w 75"/>
              <a:gd name="T55" fmla="*/ 51 h 70"/>
              <a:gd name="T56" fmla="*/ 47 w 75"/>
              <a:gd name="T57" fmla="*/ 20 h 70"/>
              <a:gd name="T58" fmla="*/ 45 w 75"/>
              <a:gd name="T59" fmla="*/ 19 h 70"/>
              <a:gd name="T60" fmla="*/ 43 w 75"/>
              <a:gd name="T61" fmla="*/ 46 h 70"/>
              <a:gd name="T62" fmla="*/ 40 w 75"/>
              <a:gd name="T63" fmla="*/ 50 h 70"/>
              <a:gd name="T64" fmla="*/ 20 w 75"/>
              <a:gd name="T65" fmla="*/ 4 h 70"/>
              <a:gd name="T66" fmla="*/ 20 w 75"/>
              <a:gd name="T67" fmla="*/ 4 h 70"/>
              <a:gd name="T68" fmla="*/ 38 w 75"/>
              <a:gd name="T69" fmla="*/ 52 h 70"/>
              <a:gd name="T70" fmla="*/ 23 w 75"/>
              <a:gd name="T71" fmla="*/ 45 h 70"/>
              <a:gd name="T72" fmla="*/ 35 w 75"/>
              <a:gd name="T73" fmla="*/ 54 h 70"/>
              <a:gd name="T74" fmla="*/ 30 w 75"/>
              <a:gd name="T75" fmla="*/ 61 h 70"/>
              <a:gd name="T76" fmla="*/ 32 w 75"/>
              <a:gd name="T77" fmla="*/ 58 h 70"/>
              <a:gd name="T78" fmla="*/ 17 w 75"/>
              <a:gd name="T79" fmla="*/ 52 h 70"/>
              <a:gd name="T80" fmla="*/ 17 w 75"/>
              <a:gd name="T81" fmla="*/ 52 h 70"/>
              <a:gd name="T82" fmla="*/ 27 w 75"/>
              <a:gd name="T83" fmla="*/ 6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5" h="70">
                <a:moveTo>
                  <a:pt x="62" y="62"/>
                </a:moveTo>
                <a:cubicBezTo>
                  <a:pt x="59" y="59"/>
                  <a:pt x="57" y="57"/>
                  <a:pt x="52" y="53"/>
                </a:cubicBezTo>
                <a:cubicBezTo>
                  <a:pt x="50" y="52"/>
                  <a:pt x="47" y="48"/>
                  <a:pt x="45" y="48"/>
                </a:cubicBezTo>
                <a:cubicBezTo>
                  <a:pt x="42" y="48"/>
                  <a:pt x="38" y="53"/>
                  <a:pt x="36" y="56"/>
                </a:cubicBezTo>
                <a:cubicBezTo>
                  <a:pt x="33" y="59"/>
                  <a:pt x="30" y="63"/>
                  <a:pt x="29" y="65"/>
                </a:cubicBezTo>
                <a:cubicBezTo>
                  <a:pt x="27" y="67"/>
                  <a:pt x="27" y="70"/>
                  <a:pt x="24" y="70"/>
                </a:cubicBezTo>
                <a:cubicBezTo>
                  <a:pt x="23" y="66"/>
                  <a:pt x="19" y="63"/>
                  <a:pt x="16" y="60"/>
                </a:cubicBezTo>
                <a:cubicBezTo>
                  <a:pt x="14" y="59"/>
                  <a:pt x="11" y="58"/>
                  <a:pt x="11" y="56"/>
                </a:cubicBezTo>
                <a:cubicBezTo>
                  <a:pt x="11" y="54"/>
                  <a:pt x="15" y="51"/>
                  <a:pt x="16" y="49"/>
                </a:cubicBezTo>
                <a:cubicBezTo>
                  <a:pt x="20" y="45"/>
                  <a:pt x="25" y="41"/>
                  <a:pt x="29" y="35"/>
                </a:cubicBezTo>
                <a:cubicBezTo>
                  <a:pt x="25" y="33"/>
                  <a:pt x="22" y="30"/>
                  <a:pt x="17" y="26"/>
                </a:cubicBezTo>
                <a:cubicBezTo>
                  <a:pt x="13" y="23"/>
                  <a:pt x="0" y="16"/>
                  <a:pt x="10" y="13"/>
                </a:cubicBezTo>
                <a:cubicBezTo>
                  <a:pt x="13" y="9"/>
                  <a:pt x="17" y="5"/>
                  <a:pt x="20" y="0"/>
                </a:cubicBezTo>
                <a:cubicBezTo>
                  <a:pt x="27" y="6"/>
                  <a:pt x="33" y="13"/>
                  <a:pt x="41" y="19"/>
                </a:cubicBezTo>
                <a:cubicBezTo>
                  <a:pt x="47" y="13"/>
                  <a:pt x="51" y="6"/>
                  <a:pt x="57" y="0"/>
                </a:cubicBezTo>
                <a:cubicBezTo>
                  <a:pt x="63" y="3"/>
                  <a:pt x="68" y="7"/>
                  <a:pt x="73" y="11"/>
                </a:cubicBezTo>
                <a:cubicBezTo>
                  <a:pt x="69" y="18"/>
                  <a:pt x="61" y="22"/>
                  <a:pt x="56" y="29"/>
                </a:cubicBezTo>
                <a:cubicBezTo>
                  <a:pt x="62" y="36"/>
                  <a:pt x="67" y="43"/>
                  <a:pt x="75" y="47"/>
                </a:cubicBezTo>
                <a:cubicBezTo>
                  <a:pt x="71" y="53"/>
                  <a:pt x="67" y="58"/>
                  <a:pt x="62" y="62"/>
                </a:cubicBezTo>
                <a:close/>
                <a:moveTo>
                  <a:pt x="72" y="48"/>
                </a:moveTo>
                <a:cubicBezTo>
                  <a:pt x="61" y="41"/>
                  <a:pt x="53" y="29"/>
                  <a:pt x="41" y="23"/>
                </a:cubicBezTo>
                <a:cubicBezTo>
                  <a:pt x="41" y="26"/>
                  <a:pt x="44" y="28"/>
                  <a:pt x="47" y="30"/>
                </a:cubicBezTo>
                <a:cubicBezTo>
                  <a:pt x="54" y="36"/>
                  <a:pt x="62" y="42"/>
                  <a:pt x="70" y="48"/>
                </a:cubicBezTo>
                <a:cubicBezTo>
                  <a:pt x="71" y="49"/>
                  <a:pt x="70" y="50"/>
                  <a:pt x="71" y="50"/>
                </a:cubicBezTo>
                <a:cubicBezTo>
                  <a:pt x="71" y="49"/>
                  <a:pt x="72" y="49"/>
                  <a:pt x="72" y="48"/>
                </a:cubicBezTo>
                <a:close/>
                <a:moveTo>
                  <a:pt x="70" y="11"/>
                </a:moveTo>
                <a:cubicBezTo>
                  <a:pt x="68" y="10"/>
                  <a:pt x="66" y="8"/>
                  <a:pt x="64" y="8"/>
                </a:cubicBezTo>
                <a:cubicBezTo>
                  <a:pt x="64" y="10"/>
                  <a:pt x="69" y="11"/>
                  <a:pt x="67" y="14"/>
                </a:cubicBezTo>
                <a:cubicBezTo>
                  <a:pt x="63" y="11"/>
                  <a:pt x="61" y="6"/>
                  <a:pt x="55" y="4"/>
                </a:cubicBezTo>
                <a:cubicBezTo>
                  <a:pt x="57" y="10"/>
                  <a:pt x="63" y="11"/>
                  <a:pt x="65" y="16"/>
                </a:cubicBezTo>
                <a:cubicBezTo>
                  <a:pt x="65" y="16"/>
                  <a:pt x="65" y="16"/>
                  <a:pt x="64" y="17"/>
                </a:cubicBezTo>
                <a:cubicBezTo>
                  <a:pt x="61" y="13"/>
                  <a:pt x="57" y="10"/>
                  <a:pt x="53" y="6"/>
                </a:cubicBezTo>
                <a:cubicBezTo>
                  <a:pt x="52" y="9"/>
                  <a:pt x="49" y="12"/>
                  <a:pt x="47" y="14"/>
                </a:cubicBezTo>
                <a:cubicBezTo>
                  <a:pt x="53" y="16"/>
                  <a:pt x="54" y="22"/>
                  <a:pt x="59" y="24"/>
                </a:cubicBezTo>
                <a:cubicBezTo>
                  <a:pt x="60" y="18"/>
                  <a:pt x="51" y="16"/>
                  <a:pt x="50" y="12"/>
                </a:cubicBezTo>
                <a:cubicBezTo>
                  <a:pt x="55" y="14"/>
                  <a:pt x="57" y="19"/>
                  <a:pt x="62" y="21"/>
                </a:cubicBezTo>
                <a:cubicBezTo>
                  <a:pt x="61" y="18"/>
                  <a:pt x="58" y="15"/>
                  <a:pt x="55" y="13"/>
                </a:cubicBezTo>
                <a:cubicBezTo>
                  <a:pt x="54" y="12"/>
                  <a:pt x="51" y="12"/>
                  <a:pt x="53" y="9"/>
                </a:cubicBezTo>
                <a:cubicBezTo>
                  <a:pt x="57" y="12"/>
                  <a:pt x="59" y="16"/>
                  <a:pt x="64" y="19"/>
                </a:cubicBezTo>
                <a:cubicBezTo>
                  <a:pt x="66" y="16"/>
                  <a:pt x="69" y="14"/>
                  <a:pt x="70" y="11"/>
                </a:cubicBezTo>
                <a:close/>
                <a:moveTo>
                  <a:pt x="70" y="51"/>
                </a:moveTo>
                <a:cubicBezTo>
                  <a:pt x="67" y="50"/>
                  <a:pt x="66" y="47"/>
                  <a:pt x="64" y="45"/>
                </a:cubicBezTo>
                <a:cubicBezTo>
                  <a:pt x="50" y="34"/>
                  <a:pt x="36" y="23"/>
                  <a:pt x="23" y="11"/>
                </a:cubicBezTo>
                <a:cubicBezTo>
                  <a:pt x="22" y="10"/>
                  <a:pt x="20" y="7"/>
                  <a:pt x="17" y="8"/>
                </a:cubicBezTo>
                <a:cubicBezTo>
                  <a:pt x="18" y="10"/>
                  <a:pt x="21" y="12"/>
                  <a:pt x="23" y="14"/>
                </a:cubicBezTo>
                <a:cubicBezTo>
                  <a:pt x="36" y="25"/>
                  <a:pt x="50" y="36"/>
                  <a:pt x="63" y="47"/>
                </a:cubicBezTo>
                <a:cubicBezTo>
                  <a:pt x="65" y="49"/>
                  <a:pt x="67" y="51"/>
                  <a:pt x="70" y="52"/>
                </a:cubicBezTo>
                <a:cubicBezTo>
                  <a:pt x="70" y="51"/>
                  <a:pt x="70" y="51"/>
                  <a:pt x="70" y="51"/>
                </a:cubicBezTo>
                <a:close/>
                <a:moveTo>
                  <a:pt x="54" y="42"/>
                </a:moveTo>
                <a:cubicBezTo>
                  <a:pt x="44" y="34"/>
                  <a:pt x="37" y="27"/>
                  <a:pt x="29" y="20"/>
                </a:cubicBezTo>
                <a:cubicBezTo>
                  <a:pt x="24" y="17"/>
                  <a:pt x="20" y="13"/>
                  <a:pt x="15" y="10"/>
                </a:cubicBezTo>
                <a:cubicBezTo>
                  <a:pt x="17" y="16"/>
                  <a:pt x="23" y="19"/>
                  <a:pt x="27" y="22"/>
                </a:cubicBezTo>
                <a:cubicBezTo>
                  <a:pt x="31" y="26"/>
                  <a:pt x="35" y="30"/>
                  <a:pt x="40" y="32"/>
                </a:cubicBezTo>
                <a:cubicBezTo>
                  <a:pt x="48" y="40"/>
                  <a:pt x="58" y="47"/>
                  <a:pt x="66" y="54"/>
                </a:cubicBezTo>
                <a:cubicBezTo>
                  <a:pt x="67" y="54"/>
                  <a:pt x="67" y="54"/>
                  <a:pt x="67" y="53"/>
                </a:cubicBezTo>
                <a:cubicBezTo>
                  <a:pt x="65" y="49"/>
                  <a:pt x="58" y="45"/>
                  <a:pt x="54" y="42"/>
                </a:cubicBezTo>
                <a:close/>
                <a:moveTo>
                  <a:pt x="65" y="56"/>
                </a:moveTo>
                <a:cubicBezTo>
                  <a:pt x="62" y="52"/>
                  <a:pt x="57" y="48"/>
                  <a:pt x="52" y="44"/>
                </a:cubicBezTo>
                <a:cubicBezTo>
                  <a:pt x="41" y="36"/>
                  <a:pt x="30" y="26"/>
                  <a:pt x="19" y="18"/>
                </a:cubicBezTo>
                <a:cubicBezTo>
                  <a:pt x="18" y="16"/>
                  <a:pt x="15" y="13"/>
                  <a:pt x="13" y="14"/>
                </a:cubicBezTo>
                <a:cubicBezTo>
                  <a:pt x="16" y="19"/>
                  <a:pt x="21" y="22"/>
                  <a:pt x="25" y="25"/>
                </a:cubicBezTo>
                <a:cubicBezTo>
                  <a:pt x="30" y="29"/>
                  <a:pt x="34" y="32"/>
                  <a:pt x="39" y="36"/>
                </a:cubicBezTo>
                <a:cubicBezTo>
                  <a:pt x="48" y="42"/>
                  <a:pt x="56" y="50"/>
                  <a:pt x="65" y="57"/>
                </a:cubicBezTo>
                <a:cubicBezTo>
                  <a:pt x="65" y="57"/>
                  <a:pt x="65" y="57"/>
                  <a:pt x="65" y="56"/>
                </a:cubicBezTo>
                <a:close/>
                <a:moveTo>
                  <a:pt x="49" y="49"/>
                </a:moveTo>
                <a:cubicBezTo>
                  <a:pt x="49" y="50"/>
                  <a:pt x="49" y="50"/>
                  <a:pt x="49" y="50"/>
                </a:cubicBezTo>
                <a:cubicBezTo>
                  <a:pt x="50" y="50"/>
                  <a:pt x="50" y="50"/>
                  <a:pt x="50" y="49"/>
                </a:cubicBezTo>
                <a:cubicBezTo>
                  <a:pt x="53" y="51"/>
                  <a:pt x="55" y="53"/>
                  <a:pt x="57" y="56"/>
                </a:cubicBezTo>
                <a:cubicBezTo>
                  <a:pt x="56" y="56"/>
                  <a:pt x="57" y="56"/>
                  <a:pt x="57" y="56"/>
                </a:cubicBezTo>
                <a:cubicBezTo>
                  <a:pt x="59" y="56"/>
                  <a:pt x="59" y="58"/>
                  <a:pt x="61" y="58"/>
                </a:cubicBezTo>
                <a:cubicBezTo>
                  <a:pt x="60" y="55"/>
                  <a:pt x="57" y="52"/>
                  <a:pt x="55" y="50"/>
                </a:cubicBezTo>
                <a:cubicBezTo>
                  <a:pt x="47" y="43"/>
                  <a:pt x="37" y="37"/>
                  <a:pt x="29" y="30"/>
                </a:cubicBezTo>
                <a:cubicBezTo>
                  <a:pt x="23" y="26"/>
                  <a:pt x="18" y="21"/>
                  <a:pt x="11" y="17"/>
                </a:cubicBezTo>
                <a:cubicBezTo>
                  <a:pt x="22" y="30"/>
                  <a:pt x="39" y="36"/>
                  <a:pt x="49" y="49"/>
                </a:cubicBezTo>
                <a:close/>
                <a:moveTo>
                  <a:pt x="46" y="15"/>
                </a:moveTo>
                <a:cubicBezTo>
                  <a:pt x="48" y="20"/>
                  <a:pt x="53" y="23"/>
                  <a:pt x="56" y="27"/>
                </a:cubicBezTo>
                <a:cubicBezTo>
                  <a:pt x="56" y="26"/>
                  <a:pt x="57" y="26"/>
                  <a:pt x="57" y="25"/>
                </a:cubicBezTo>
                <a:cubicBezTo>
                  <a:pt x="54" y="21"/>
                  <a:pt x="51" y="17"/>
                  <a:pt x="46" y="15"/>
                </a:cubicBezTo>
                <a:close/>
                <a:moveTo>
                  <a:pt x="44" y="20"/>
                </a:moveTo>
                <a:cubicBezTo>
                  <a:pt x="42" y="22"/>
                  <a:pt x="44" y="23"/>
                  <a:pt x="45" y="23"/>
                </a:cubicBezTo>
                <a:cubicBezTo>
                  <a:pt x="47" y="26"/>
                  <a:pt x="50" y="28"/>
                  <a:pt x="54" y="30"/>
                </a:cubicBezTo>
                <a:cubicBezTo>
                  <a:pt x="52" y="25"/>
                  <a:pt x="47" y="22"/>
                  <a:pt x="44" y="20"/>
                </a:cubicBezTo>
                <a:close/>
                <a:moveTo>
                  <a:pt x="51" y="51"/>
                </a:moveTo>
                <a:cubicBezTo>
                  <a:pt x="51" y="52"/>
                  <a:pt x="52" y="51"/>
                  <a:pt x="51" y="51"/>
                </a:cubicBezTo>
                <a:close/>
                <a:moveTo>
                  <a:pt x="47" y="20"/>
                </a:moveTo>
                <a:cubicBezTo>
                  <a:pt x="47" y="20"/>
                  <a:pt x="48" y="21"/>
                  <a:pt x="48" y="20"/>
                </a:cubicBezTo>
                <a:cubicBezTo>
                  <a:pt x="47" y="20"/>
                  <a:pt x="47" y="19"/>
                  <a:pt x="47" y="20"/>
                </a:cubicBezTo>
                <a:close/>
                <a:moveTo>
                  <a:pt x="45" y="19"/>
                </a:moveTo>
                <a:cubicBezTo>
                  <a:pt x="45" y="18"/>
                  <a:pt x="47" y="20"/>
                  <a:pt x="46" y="18"/>
                </a:cubicBezTo>
                <a:cubicBezTo>
                  <a:pt x="45" y="18"/>
                  <a:pt x="44" y="19"/>
                  <a:pt x="45" y="19"/>
                </a:cubicBezTo>
                <a:close/>
                <a:moveTo>
                  <a:pt x="32" y="39"/>
                </a:moveTo>
                <a:cubicBezTo>
                  <a:pt x="31" y="39"/>
                  <a:pt x="32" y="37"/>
                  <a:pt x="30" y="38"/>
                </a:cubicBezTo>
                <a:cubicBezTo>
                  <a:pt x="33" y="41"/>
                  <a:pt x="39" y="45"/>
                  <a:pt x="43" y="46"/>
                </a:cubicBezTo>
                <a:cubicBezTo>
                  <a:pt x="40" y="44"/>
                  <a:pt x="38" y="37"/>
                  <a:pt x="32" y="39"/>
                </a:cubicBezTo>
                <a:close/>
                <a:moveTo>
                  <a:pt x="28" y="40"/>
                </a:moveTo>
                <a:cubicBezTo>
                  <a:pt x="31" y="44"/>
                  <a:pt x="35" y="47"/>
                  <a:pt x="40" y="50"/>
                </a:cubicBezTo>
                <a:cubicBezTo>
                  <a:pt x="40" y="49"/>
                  <a:pt x="41" y="49"/>
                  <a:pt x="41" y="48"/>
                </a:cubicBezTo>
                <a:cubicBezTo>
                  <a:pt x="36" y="47"/>
                  <a:pt x="33" y="40"/>
                  <a:pt x="28" y="40"/>
                </a:cubicBezTo>
                <a:close/>
                <a:moveTo>
                  <a:pt x="20" y="4"/>
                </a:moveTo>
                <a:cubicBezTo>
                  <a:pt x="23" y="12"/>
                  <a:pt x="33" y="17"/>
                  <a:pt x="39" y="23"/>
                </a:cubicBezTo>
                <a:cubicBezTo>
                  <a:pt x="39" y="23"/>
                  <a:pt x="40" y="24"/>
                  <a:pt x="40" y="23"/>
                </a:cubicBezTo>
                <a:cubicBezTo>
                  <a:pt x="34" y="16"/>
                  <a:pt x="27" y="10"/>
                  <a:pt x="20" y="4"/>
                </a:cubicBezTo>
                <a:close/>
                <a:moveTo>
                  <a:pt x="27" y="42"/>
                </a:moveTo>
                <a:cubicBezTo>
                  <a:pt x="26" y="44"/>
                  <a:pt x="29" y="45"/>
                  <a:pt x="30" y="47"/>
                </a:cubicBezTo>
                <a:cubicBezTo>
                  <a:pt x="33" y="49"/>
                  <a:pt x="35" y="52"/>
                  <a:pt x="38" y="52"/>
                </a:cubicBezTo>
                <a:cubicBezTo>
                  <a:pt x="35" y="48"/>
                  <a:pt x="30" y="44"/>
                  <a:pt x="27" y="42"/>
                </a:cubicBezTo>
                <a:close/>
                <a:moveTo>
                  <a:pt x="35" y="54"/>
                </a:moveTo>
                <a:cubicBezTo>
                  <a:pt x="31" y="51"/>
                  <a:pt x="29" y="44"/>
                  <a:pt x="23" y="45"/>
                </a:cubicBezTo>
                <a:cubicBezTo>
                  <a:pt x="24" y="49"/>
                  <a:pt x="28" y="51"/>
                  <a:pt x="32" y="53"/>
                </a:cubicBezTo>
                <a:cubicBezTo>
                  <a:pt x="32" y="54"/>
                  <a:pt x="33" y="56"/>
                  <a:pt x="35" y="55"/>
                </a:cubicBezTo>
                <a:cubicBezTo>
                  <a:pt x="35" y="55"/>
                  <a:pt x="35" y="54"/>
                  <a:pt x="35" y="54"/>
                </a:cubicBezTo>
                <a:close/>
                <a:moveTo>
                  <a:pt x="21" y="47"/>
                </a:moveTo>
                <a:cubicBezTo>
                  <a:pt x="20" y="48"/>
                  <a:pt x="19" y="49"/>
                  <a:pt x="18" y="51"/>
                </a:cubicBezTo>
                <a:cubicBezTo>
                  <a:pt x="22" y="55"/>
                  <a:pt x="27" y="57"/>
                  <a:pt x="30" y="61"/>
                </a:cubicBezTo>
                <a:cubicBezTo>
                  <a:pt x="32" y="59"/>
                  <a:pt x="29" y="57"/>
                  <a:pt x="27" y="55"/>
                </a:cubicBezTo>
                <a:cubicBezTo>
                  <a:pt x="25" y="53"/>
                  <a:pt x="20" y="51"/>
                  <a:pt x="21" y="49"/>
                </a:cubicBezTo>
                <a:cubicBezTo>
                  <a:pt x="25" y="52"/>
                  <a:pt x="28" y="54"/>
                  <a:pt x="32" y="58"/>
                </a:cubicBezTo>
                <a:cubicBezTo>
                  <a:pt x="32" y="58"/>
                  <a:pt x="33" y="58"/>
                  <a:pt x="32" y="57"/>
                </a:cubicBezTo>
                <a:cubicBezTo>
                  <a:pt x="29" y="53"/>
                  <a:pt x="26" y="49"/>
                  <a:pt x="21" y="47"/>
                </a:cubicBezTo>
                <a:close/>
                <a:moveTo>
                  <a:pt x="17" y="52"/>
                </a:moveTo>
                <a:cubicBezTo>
                  <a:pt x="18" y="57"/>
                  <a:pt x="25" y="59"/>
                  <a:pt x="28" y="63"/>
                </a:cubicBezTo>
                <a:cubicBezTo>
                  <a:pt x="28" y="62"/>
                  <a:pt x="29" y="62"/>
                  <a:pt x="29" y="62"/>
                </a:cubicBezTo>
                <a:cubicBezTo>
                  <a:pt x="24" y="59"/>
                  <a:pt x="21" y="53"/>
                  <a:pt x="17" y="52"/>
                </a:cubicBezTo>
                <a:close/>
                <a:moveTo>
                  <a:pt x="16" y="56"/>
                </a:moveTo>
                <a:cubicBezTo>
                  <a:pt x="17" y="58"/>
                  <a:pt x="19" y="59"/>
                  <a:pt x="21" y="61"/>
                </a:cubicBezTo>
                <a:cubicBezTo>
                  <a:pt x="22" y="62"/>
                  <a:pt x="24" y="66"/>
                  <a:pt x="27" y="65"/>
                </a:cubicBezTo>
                <a:cubicBezTo>
                  <a:pt x="27" y="64"/>
                  <a:pt x="27" y="64"/>
                  <a:pt x="27" y="64"/>
                </a:cubicBezTo>
                <a:cubicBezTo>
                  <a:pt x="22" y="62"/>
                  <a:pt x="21" y="57"/>
                  <a:pt x="16" y="56"/>
                </a:cubicBezTo>
                <a:close/>
              </a:path>
            </a:pathLst>
          </a:custGeom>
          <a:solidFill>
            <a:srgbClr val="6464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98">
            <a:extLst>
              <a:ext uri="{FF2B5EF4-FFF2-40B4-BE49-F238E27FC236}">
                <a16:creationId xmlns:a16="http://schemas.microsoft.com/office/drawing/2014/main" id="{C5319D3A-84B5-4467-9AD9-22AF038CEE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0137" y="4662906"/>
            <a:ext cx="586769" cy="548640"/>
          </a:xfrm>
          <a:custGeom>
            <a:avLst/>
            <a:gdLst>
              <a:gd name="T0" fmla="*/ 45 w 75"/>
              <a:gd name="T1" fmla="*/ 48 h 70"/>
              <a:gd name="T2" fmla="*/ 24 w 75"/>
              <a:gd name="T3" fmla="*/ 70 h 70"/>
              <a:gd name="T4" fmla="*/ 16 w 75"/>
              <a:gd name="T5" fmla="*/ 49 h 70"/>
              <a:gd name="T6" fmla="*/ 10 w 75"/>
              <a:gd name="T7" fmla="*/ 13 h 70"/>
              <a:gd name="T8" fmla="*/ 57 w 75"/>
              <a:gd name="T9" fmla="*/ 0 h 70"/>
              <a:gd name="T10" fmla="*/ 75 w 75"/>
              <a:gd name="T11" fmla="*/ 47 h 70"/>
              <a:gd name="T12" fmla="*/ 41 w 75"/>
              <a:gd name="T13" fmla="*/ 23 h 70"/>
              <a:gd name="T14" fmla="*/ 71 w 75"/>
              <a:gd name="T15" fmla="*/ 50 h 70"/>
              <a:gd name="T16" fmla="*/ 64 w 75"/>
              <a:gd name="T17" fmla="*/ 8 h 70"/>
              <a:gd name="T18" fmla="*/ 65 w 75"/>
              <a:gd name="T19" fmla="*/ 16 h 70"/>
              <a:gd name="T20" fmla="*/ 47 w 75"/>
              <a:gd name="T21" fmla="*/ 14 h 70"/>
              <a:gd name="T22" fmla="*/ 62 w 75"/>
              <a:gd name="T23" fmla="*/ 21 h 70"/>
              <a:gd name="T24" fmla="*/ 64 w 75"/>
              <a:gd name="T25" fmla="*/ 19 h 70"/>
              <a:gd name="T26" fmla="*/ 64 w 75"/>
              <a:gd name="T27" fmla="*/ 45 h 70"/>
              <a:gd name="T28" fmla="*/ 23 w 75"/>
              <a:gd name="T29" fmla="*/ 14 h 70"/>
              <a:gd name="T30" fmla="*/ 70 w 75"/>
              <a:gd name="T31" fmla="*/ 51 h 70"/>
              <a:gd name="T32" fmla="*/ 15 w 75"/>
              <a:gd name="T33" fmla="*/ 10 h 70"/>
              <a:gd name="T34" fmla="*/ 66 w 75"/>
              <a:gd name="T35" fmla="*/ 54 h 70"/>
              <a:gd name="T36" fmla="*/ 65 w 75"/>
              <a:gd name="T37" fmla="*/ 56 h 70"/>
              <a:gd name="T38" fmla="*/ 13 w 75"/>
              <a:gd name="T39" fmla="*/ 14 h 70"/>
              <a:gd name="T40" fmla="*/ 65 w 75"/>
              <a:gd name="T41" fmla="*/ 57 h 70"/>
              <a:gd name="T42" fmla="*/ 49 w 75"/>
              <a:gd name="T43" fmla="*/ 50 h 70"/>
              <a:gd name="T44" fmla="*/ 57 w 75"/>
              <a:gd name="T45" fmla="*/ 56 h 70"/>
              <a:gd name="T46" fmla="*/ 29 w 75"/>
              <a:gd name="T47" fmla="*/ 30 h 70"/>
              <a:gd name="T48" fmla="*/ 46 w 75"/>
              <a:gd name="T49" fmla="*/ 15 h 70"/>
              <a:gd name="T50" fmla="*/ 46 w 75"/>
              <a:gd name="T51" fmla="*/ 15 h 70"/>
              <a:gd name="T52" fmla="*/ 54 w 75"/>
              <a:gd name="T53" fmla="*/ 30 h 70"/>
              <a:gd name="T54" fmla="*/ 51 w 75"/>
              <a:gd name="T55" fmla="*/ 51 h 70"/>
              <a:gd name="T56" fmla="*/ 47 w 75"/>
              <a:gd name="T57" fmla="*/ 20 h 70"/>
              <a:gd name="T58" fmla="*/ 45 w 75"/>
              <a:gd name="T59" fmla="*/ 19 h 70"/>
              <a:gd name="T60" fmla="*/ 43 w 75"/>
              <a:gd name="T61" fmla="*/ 46 h 70"/>
              <a:gd name="T62" fmla="*/ 40 w 75"/>
              <a:gd name="T63" fmla="*/ 50 h 70"/>
              <a:gd name="T64" fmla="*/ 20 w 75"/>
              <a:gd name="T65" fmla="*/ 4 h 70"/>
              <a:gd name="T66" fmla="*/ 20 w 75"/>
              <a:gd name="T67" fmla="*/ 4 h 70"/>
              <a:gd name="T68" fmla="*/ 38 w 75"/>
              <a:gd name="T69" fmla="*/ 52 h 70"/>
              <a:gd name="T70" fmla="*/ 23 w 75"/>
              <a:gd name="T71" fmla="*/ 45 h 70"/>
              <a:gd name="T72" fmla="*/ 35 w 75"/>
              <a:gd name="T73" fmla="*/ 54 h 70"/>
              <a:gd name="T74" fmla="*/ 30 w 75"/>
              <a:gd name="T75" fmla="*/ 61 h 70"/>
              <a:gd name="T76" fmla="*/ 32 w 75"/>
              <a:gd name="T77" fmla="*/ 58 h 70"/>
              <a:gd name="T78" fmla="*/ 17 w 75"/>
              <a:gd name="T79" fmla="*/ 52 h 70"/>
              <a:gd name="T80" fmla="*/ 17 w 75"/>
              <a:gd name="T81" fmla="*/ 52 h 70"/>
              <a:gd name="T82" fmla="*/ 27 w 75"/>
              <a:gd name="T83" fmla="*/ 6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5" h="70">
                <a:moveTo>
                  <a:pt x="62" y="62"/>
                </a:moveTo>
                <a:cubicBezTo>
                  <a:pt x="59" y="59"/>
                  <a:pt x="57" y="57"/>
                  <a:pt x="52" y="53"/>
                </a:cubicBezTo>
                <a:cubicBezTo>
                  <a:pt x="50" y="52"/>
                  <a:pt x="47" y="48"/>
                  <a:pt x="45" y="48"/>
                </a:cubicBezTo>
                <a:cubicBezTo>
                  <a:pt x="42" y="48"/>
                  <a:pt x="38" y="53"/>
                  <a:pt x="36" y="56"/>
                </a:cubicBezTo>
                <a:cubicBezTo>
                  <a:pt x="33" y="59"/>
                  <a:pt x="30" y="63"/>
                  <a:pt x="29" y="65"/>
                </a:cubicBezTo>
                <a:cubicBezTo>
                  <a:pt x="27" y="67"/>
                  <a:pt x="27" y="70"/>
                  <a:pt x="24" y="70"/>
                </a:cubicBezTo>
                <a:cubicBezTo>
                  <a:pt x="23" y="66"/>
                  <a:pt x="19" y="63"/>
                  <a:pt x="16" y="60"/>
                </a:cubicBezTo>
                <a:cubicBezTo>
                  <a:pt x="14" y="59"/>
                  <a:pt x="11" y="58"/>
                  <a:pt x="11" y="56"/>
                </a:cubicBezTo>
                <a:cubicBezTo>
                  <a:pt x="11" y="54"/>
                  <a:pt x="15" y="51"/>
                  <a:pt x="16" y="49"/>
                </a:cubicBezTo>
                <a:cubicBezTo>
                  <a:pt x="20" y="45"/>
                  <a:pt x="25" y="41"/>
                  <a:pt x="29" y="35"/>
                </a:cubicBezTo>
                <a:cubicBezTo>
                  <a:pt x="25" y="33"/>
                  <a:pt x="22" y="30"/>
                  <a:pt x="17" y="26"/>
                </a:cubicBezTo>
                <a:cubicBezTo>
                  <a:pt x="13" y="23"/>
                  <a:pt x="0" y="16"/>
                  <a:pt x="10" y="13"/>
                </a:cubicBezTo>
                <a:cubicBezTo>
                  <a:pt x="13" y="9"/>
                  <a:pt x="17" y="5"/>
                  <a:pt x="20" y="0"/>
                </a:cubicBezTo>
                <a:cubicBezTo>
                  <a:pt x="27" y="6"/>
                  <a:pt x="33" y="13"/>
                  <a:pt x="41" y="19"/>
                </a:cubicBezTo>
                <a:cubicBezTo>
                  <a:pt x="47" y="13"/>
                  <a:pt x="51" y="6"/>
                  <a:pt x="57" y="0"/>
                </a:cubicBezTo>
                <a:cubicBezTo>
                  <a:pt x="63" y="3"/>
                  <a:pt x="68" y="7"/>
                  <a:pt x="73" y="11"/>
                </a:cubicBezTo>
                <a:cubicBezTo>
                  <a:pt x="69" y="18"/>
                  <a:pt x="61" y="22"/>
                  <a:pt x="56" y="29"/>
                </a:cubicBezTo>
                <a:cubicBezTo>
                  <a:pt x="62" y="36"/>
                  <a:pt x="67" y="43"/>
                  <a:pt x="75" y="47"/>
                </a:cubicBezTo>
                <a:cubicBezTo>
                  <a:pt x="71" y="53"/>
                  <a:pt x="67" y="58"/>
                  <a:pt x="62" y="62"/>
                </a:cubicBezTo>
                <a:close/>
                <a:moveTo>
                  <a:pt x="72" y="48"/>
                </a:moveTo>
                <a:cubicBezTo>
                  <a:pt x="61" y="41"/>
                  <a:pt x="53" y="29"/>
                  <a:pt x="41" y="23"/>
                </a:cubicBezTo>
                <a:cubicBezTo>
                  <a:pt x="41" y="26"/>
                  <a:pt x="44" y="28"/>
                  <a:pt x="47" y="30"/>
                </a:cubicBezTo>
                <a:cubicBezTo>
                  <a:pt x="54" y="36"/>
                  <a:pt x="62" y="42"/>
                  <a:pt x="70" y="48"/>
                </a:cubicBezTo>
                <a:cubicBezTo>
                  <a:pt x="71" y="49"/>
                  <a:pt x="70" y="50"/>
                  <a:pt x="71" y="50"/>
                </a:cubicBezTo>
                <a:cubicBezTo>
                  <a:pt x="71" y="49"/>
                  <a:pt x="72" y="49"/>
                  <a:pt x="72" y="48"/>
                </a:cubicBezTo>
                <a:close/>
                <a:moveTo>
                  <a:pt x="70" y="11"/>
                </a:moveTo>
                <a:cubicBezTo>
                  <a:pt x="68" y="10"/>
                  <a:pt x="66" y="8"/>
                  <a:pt x="64" y="8"/>
                </a:cubicBezTo>
                <a:cubicBezTo>
                  <a:pt x="64" y="10"/>
                  <a:pt x="69" y="11"/>
                  <a:pt x="67" y="14"/>
                </a:cubicBezTo>
                <a:cubicBezTo>
                  <a:pt x="63" y="11"/>
                  <a:pt x="61" y="6"/>
                  <a:pt x="55" y="4"/>
                </a:cubicBezTo>
                <a:cubicBezTo>
                  <a:pt x="57" y="10"/>
                  <a:pt x="63" y="11"/>
                  <a:pt x="65" y="16"/>
                </a:cubicBezTo>
                <a:cubicBezTo>
                  <a:pt x="65" y="16"/>
                  <a:pt x="65" y="16"/>
                  <a:pt x="64" y="17"/>
                </a:cubicBezTo>
                <a:cubicBezTo>
                  <a:pt x="61" y="13"/>
                  <a:pt x="57" y="10"/>
                  <a:pt x="53" y="6"/>
                </a:cubicBezTo>
                <a:cubicBezTo>
                  <a:pt x="52" y="9"/>
                  <a:pt x="49" y="12"/>
                  <a:pt x="47" y="14"/>
                </a:cubicBezTo>
                <a:cubicBezTo>
                  <a:pt x="53" y="16"/>
                  <a:pt x="54" y="22"/>
                  <a:pt x="59" y="24"/>
                </a:cubicBezTo>
                <a:cubicBezTo>
                  <a:pt x="60" y="18"/>
                  <a:pt x="51" y="16"/>
                  <a:pt x="50" y="12"/>
                </a:cubicBezTo>
                <a:cubicBezTo>
                  <a:pt x="55" y="14"/>
                  <a:pt x="57" y="19"/>
                  <a:pt x="62" y="21"/>
                </a:cubicBezTo>
                <a:cubicBezTo>
                  <a:pt x="61" y="18"/>
                  <a:pt x="58" y="15"/>
                  <a:pt x="55" y="13"/>
                </a:cubicBezTo>
                <a:cubicBezTo>
                  <a:pt x="54" y="12"/>
                  <a:pt x="51" y="12"/>
                  <a:pt x="53" y="9"/>
                </a:cubicBezTo>
                <a:cubicBezTo>
                  <a:pt x="57" y="12"/>
                  <a:pt x="59" y="16"/>
                  <a:pt x="64" y="19"/>
                </a:cubicBezTo>
                <a:cubicBezTo>
                  <a:pt x="66" y="16"/>
                  <a:pt x="69" y="14"/>
                  <a:pt x="70" y="11"/>
                </a:cubicBezTo>
                <a:close/>
                <a:moveTo>
                  <a:pt x="70" y="51"/>
                </a:moveTo>
                <a:cubicBezTo>
                  <a:pt x="67" y="50"/>
                  <a:pt x="66" y="47"/>
                  <a:pt x="64" y="45"/>
                </a:cubicBezTo>
                <a:cubicBezTo>
                  <a:pt x="50" y="34"/>
                  <a:pt x="36" y="23"/>
                  <a:pt x="23" y="11"/>
                </a:cubicBezTo>
                <a:cubicBezTo>
                  <a:pt x="22" y="10"/>
                  <a:pt x="20" y="7"/>
                  <a:pt x="17" y="8"/>
                </a:cubicBezTo>
                <a:cubicBezTo>
                  <a:pt x="18" y="10"/>
                  <a:pt x="21" y="12"/>
                  <a:pt x="23" y="14"/>
                </a:cubicBezTo>
                <a:cubicBezTo>
                  <a:pt x="36" y="25"/>
                  <a:pt x="50" y="36"/>
                  <a:pt x="63" y="47"/>
                </a:cubicBezTo>
                <a:cubicBezTo>
                  <a:pt x="65" y="49"/>
                  <a:pt x="67" y="51"/>
                  <a:pt x="70" y="52"/>
                </a:cubicBezTo>
                <a:cubicBezTo>
                  <a:pt x="70" y="51"/>
                  <a:pt x="70" y="51"/>
                  <a:pt x="70" y="51"/>
                </a:cubicBezTo>
                <a:close/>
                <a:moveTo>
                  <a:pt x="54" y="42"/>
                </a:moveTo>
                <a:cubicBezTo>
                  <a:pt x="44" y="34"/>
                  <a:pt x="37" y="27"/>
                  <a:pt x="29" y="20"/>
                </a:cubicBezTo>
                <a:cubicBezTo>
                  <a:pt x="24" y="17"/>
                  <a:pt x="20" y="13"/>
                  <a:pt x="15" y="10"/>
                </a:cubicBezTo>
                <a:cubicBezTo>
                  <a:pt x="17" y="16"/>
                  <a:pt x="23" y="19"/>
                  <a:pt x="27" y="22"/>
                </a:cubicBezTo>
                <a:cubicBezTo>
                  <a:pt x="31" y="26"/>
                  <a:pt x="35" y="30"/>
                  <a:pt x="40" y="32"/>
                </a:cubicBezTo>
                <a:cubicBezTo>
                  <a:pt x="48" y="40"/>
                  <a:pt x="58" y="47"/>
                  <a:pt x="66" y="54"/>
                </a:cubicBezTo>
                <a:cubicBezTo>
                  <a:pt x="67" y="54"/>
                  <a:pt x="67" y="54"/>
                  <a:pt x="67" y="53"/>
                </a:cubicBezTo>
                <a:cubicBezTo>
                  <a:pt x="65" y="49"/>
                  <a:pt x="58" y="45"/>
                  <a:pt x="54" y="42"/>
                </a:cubicBezTo>
                <a:close/>
                <a:moveTo>
                  <a:pt x="65" y="56"/>
                </a:moveTo>
                <a:cubicBezTo>
                  <a:pt x="62" y="52"/>
                  <a:pt x="57" y="48"/>
                  <a:pt x="52" y="44"/>
                </a:cubicBezTo>
                <a:cubicBezTo>
                  <a:pt x="41" y="36"/>
                  <a:pt x="30" y="26"/>
                  <a:pt x="19" y="18"/>
                </a:cubicBezTo>
                <a:cubicBezTo>
                  <a:pt x="18" y="16"/>
                  <a:pt x="15" y="13"/>
                  <a:pt x="13" y="14"/>
                </a:cubicBezTo>
                <a:cubicBezTo>
                  <a:pt x="16" y="19"/>
                  <a:pt x="21" y="22"/>
                  <a:pt x="25" y="25"/>
                </a:cubicBezTo>
                <a:cubicBezTo>
                  <a:pt x="30" y="29"/>
                  <a:pt x="34" y="32"/>
                  <a:pt x="39" y="36"/>
                </a:cubicBezTo>
                <a:cubicBezTo>
                  <a:pt x="48" y="42"/>
                  <a:pt x="56" y="50"/>
                  <a:pt x="65" y="57"/>
                </a:cubicBezTo>
                <a:cubicBezTo>
                  <a:pt x="65" y="57"/>
                  <a:pt x="65" y="57"/>
                  <a:pt x="65" y="56"/>
                </a:cubicBezTo>
                <a:close/>
                <a:moveTo>
                  <a:pt x="49" y="49"/>
                </a:moveTo>
                <a:cubicBezTo>
                  <a:pt x="49" y="50"/>
                  <a:pt x="49" y="50"/>
                  <a:pt x="49" y="50"/>
                </a:cubicBezTo>
                <a:cubicBezTo>
                  <a:pt x="50" y="50"/>
                  <a:pt x="50" y="50"/>
                  <a:pt x="50" y="49"/>
                </a:cubicBezTo>
                <a:cubicBezTo>
                  <a:pt x="53" y="51"/>
                  <a:pt x="55" y="53"/>
                  <a:pt x="57" y="56"/>
                </a:cubicBezTo>
                <a:cubicBezTo>
                  <a:pt x="56" y="56"/>
                  <a:pt x="57" y="56"/>
                  <a:pt x="57" y="56"/>
                </a:cubicBezTo>
                <a:cubicBezTo>
                  <a:pt x="59" y="56"/>
                  <a:pt x="59" y="58"/>
                  <a:pt x="61" y="58"/>
                </a:cubicBezTo>
                <a:cubicBezTo>
                  <a:pt x="60" y="55"/>
                  <a:pt x="57" y="52"/>
                  <a:pt x="55" y="50"/>
                </a:cubicBezTo>
                <a:cubicBezTo>
                  <a:pt x="47" y="43"/>
                  <a:pt x="37" y="37"/>
                  <a:pt x="29" y="30"/>
                </a:cubicBezTo>
                <a:cubicBezTo>
                  <a:pt x="23" y="26"/>
                  <a:pt x="18" y="21"/>
                  <a:pt x="11" y="17"/>
                </a:cubicBezTo>
                <a:cubicBezTo>
                  <a:pt x="22" y="30"/>
                  <a:pt x="39" y="36"/>
                  <a:pt x="49" y="49"/>
                </a:cubicBezTo>
                <a:close/>
                <a:moveTo>
                  <a:pt x="46" y="15"/>
                </a:moveTo>
                <a:cubicBezTo>
                  <a:pt x="48" y="20"/>
                  <a:pt x="53" y="23"/>
                  <a:pt x="56" y="27"/>
                </a:cubicBezTo>
                <a:cubicBezTo>
                  <a:pt x="56" y="26"/>
                  <a:pt x="57" y="26"/>
                  <a:pt x="57" y="25"/>
                </a:cubicBezTo>
                <a:cubicBezTo>
                  <a:pt x="54" y="21"/>
                  <a:pt x="51" y="17"/>
                  <a:pt x="46" y="15"/>
                </a:cubicBezTo>
                <a:close/>
                <a:moveTo>
                  <a:pt x="44" y="20"/>
                </a:moveTo>
                <a:cubicBezTo>
                  <a:pt x="42" y="22"/>
                  <a:pt x="44" y="23"/>
                  <a:pt x="45" y="23"/>
                </a:cubicBezTo>
                <a:cubicBezTo>
                  <a:pt x="47" y="26"/>
                  <a:pt x="50" y="28"/>
                  <a:pt x="54" y="30"/>
                </a:cubicBezTo>
                <a:cubicBezTo>
                  <a:pt x="52" y="25"/>
                  <a:pt x="47" y="22"/>
                  <a:pt x="44" y="20"/>
                </a:cubicBezTo>
                <a:close/>
                <a:moveTo>
                  <a:pt x="51" y="51"/>
                </a:moveTo>
                <a:cubicBezTo>
                  <a:pt x="51" y="52"/>
                  <a:pt x="52" y="51"/>
                  <a:pt x="51" y="51"/>
                </a:cubicBezTo>
                <a:close/>
                <a:moveTo>
                  <a:pt x="47" y="20"/>
                </a:moveTo>
                <a:cubicBezTo>
                  <a:pt x="47" y="20"/>
                  <a:pt x="48" y="21"/>
                  <a:pt x="48" y="20"/>
                </a:cubicBezTo>
                <a:cubicBezTo>
                  <a:pt x="47" y="20"/>
                  <a:pt x="47" y="19"/>
                  <a:pt x="47" y="20"/>
                </a:cubicBezTo>
                <a:close/>
                <a:moveTo>
                  <a:pt x="45" y="19"/>
                </a:moveTo>
                <a:cubicBezTo>
                  <a:pt x="45" y="18"/>
                  <a:pt x="47" y="20"/>
                  <a:pt x="46" y="18"/>
                </a:cubicBezTo>
                <a:cubicBezTo>
                  <a:pt x="45" y="18"/>
                  <a:pt x="44" y="19"/>
                  <a:pt x="45" y="19"/>
                </a:cubicBezTo>
                <a:close/>
                <a:moveTo>
                  <a:pt x="32" y="39"/>
                </a:moveTo>
                <a:cubicBezTo>
                  <a:pt x="31" y="39"/>
                  <a:pt x="32" y="37"/>
                  <a:pt x="30" y="38"/>
                </a:cubicBezTo>
                <a:cubicBezTo>
                  <a:pt x="33" y="41"/>
                  <a:pt x="39" y="45"/>
                  <a:pt x="43" y="46"/>
                </a:cubicBezTo>
                <a:cubicBezTo>
                  <a:pt x="40" y="44"/>
                  <a:pt x="38" y="37"/>
                  <a:pt x="32" y="39"/>
                </a:cubicBezTo>
                <a:close/>
                <a:moveTo>
                  <a:pt x="28" y="40"/>
                </a:moveTo>
                <a:cubicBezTo>
                  <a:pt x="31" y="44"/>
                  <a:pt x="35" y="47"/>
                  <a:pt x="40" y="50"/>
                </a:cubicBezTo>
                <a:cubicBezTo>
                  <a:pt x="40" y="49"/>
                  <a:pt x="41" y="49"/>
                  <a:pt x="41" y="48"/>
                </a:cubicBezTo>
                <a:cubicBezTo>
                  <a:pt x="36" y="47"/>
                  <a:pt x="33" y="40"/>
                  <a:pt x="28" y="40"/>
                </a:cubicBezTo>
                <a:close/>
                <a:moveTo>
                  <a:pt x="20" y="4"/>
                </a:moveTo>
                <a:cubicBezTo>
                  <a:pt x="23" y="12"/>
                  <a:pt x="33" y="17"/>
                  <a:pt x="39" y="23"/>
                </a:cubicBezTo>
                <a:cubicBezTo>
                  <a:pt x="39" y="23"/>
                  <a:pt x="40" y="24"/>
                  <a:pt x="40" y="23"/>
                </a:cubicBezTo>
                <a:cubicBezTo>
                  <a:pt x="34" y="16"/>
                  <a:pt x="27" y="10"/>
                  <a:pt x="20" y="4"/>
                </a:cubicBezTo>
                <a:close/>
                <a:moveTo>
                  <a:pt x="27" y="42"/>
                </a:moveTo>
                <a:cubicBezTo>
                  <a:pt x="26" y="44"/>
                  <a:pt x="29" y="45"/>
                  <a:pt x="30" y="47"/>
                </a:cubicBezTo>
                <a:cubicBezTo>
                  <a:pt x="33" y="49"/>
                  <a:pt x="35" y="52"/>
                  <a:pt x="38" y="52"/>
                </a:cubicBezTo>
                <a:cubicBezTo>
                  <a:pt x="35" y="48"/>
                  <a:pt x="30" y="44"/>
                  <a:pt x="27" y="42"/>
                </a:cubicBezTo>
                <a:close/>
                <a:moveTo>
                  <a:pt x="35" y="54"/>
                </a:moveTo>
                <a:cubicBezTo>
                  <a:pt x="31" y="51"/>
                  <a:pt x="29" y="44"/>
                  <a:pt x="23" y="45"/>
                </a:cubicBezTo>
                <a:cubicBezTo>
                  <a:pt x="24" y="49"/>
                  <a:pt x="28" y="51"/>
                  <a:pt x="32" y="53"/>
                </a:cubicBezTo>
                <a:cubicBezTo>
                  <a:pt x="32" y="54"/>
                  <a:pt x="33" y="56"/>
                  <a:pt x="35" y="55"/>
                </a:cubicBezTo>
                <a:cubicBezTo>
                  <a:pt x="35" y="55"/>
                  <a:pt x="35" y="54"/>
                  <a:pt x="35" y="54"/>
                </a:cubicBezTo>
                <a:close/>
                <a:moveTo>
                  <a:pt x="21" y="47"/>
                </a:moveTo>
                <a:cubicBezTo>
                  <a:pt x="20" y="48"/>
                  <a:pt x="19" y="49"/>
                  <a:pt x="18" y="51"/>
                </a:cubicBezTo>
                <a:cubicBezTo>
                  <a:pt x="22" y="55"/>
                  <a:pt x="27" y="57"/>
                  <a:pt x="30" y="61"/>
                </a:cubicBezTo>
                <a:cubicBezTo>
                  <a:pt x="32" y="59"/>
                  <a:pt x="29" y="57"/>
                  <a:pt x="27" y="55"/>
                </a:cubicBezTo>
                <a:cubicBezTo>
                  <a:pt x="25" y="53"/>
                  <a:pt x="20" y="51"/>
                  <a:pt x="21" y="49"/>
                </a:cubicBezTo>
                <a:cubicBezTo>
                  <a:pt x="25" y="52"/>
                  <a:pt x="28" y="54"/>
                  <a:pt x="32" y="58"/>
                </a:cubicBezTo>
                <a:cubicBezTo>
                  <a:pt x="32" y="58"/>
                  <a:pt x="33" y="58"/>
                  <a:pt x="32" y="57"/>
                </a:cubicBezTo>
                <a:cubicBezTo>
                  <a:pt x="29" y="53"/>
                  <a:pt x="26" y="49"/>
                  <a:pt x="21" y="47"/>
                </a:cubicBezTo>
                <a:close/>
                <a:moveTo>
                  <a:pt x="17" y="52"/>
                </a:moveTo>
                <a:cubicBezTo>
                  <a:pt x="18" y="57"/>
                  <a:pt x="25" y="59"/>
                  <a:pt x="28" y="63"/>
                </a:cubicBezTo>
                <a:cubicBezTo>
                  <a:pt x="28" y="62"/>
                  <a:pt x="29" y="62"/>
                  <a:pt x="29" y="62"/>
                </a:cubicBezTo>
                <a:cubicBezTo>
                  <a:pt x="24" y="59"/>
                  <a:pt x="21" y="53"/>
                  <a:pt x="17" y="52"/>
                </a:cubicBezTo>
                <a:close/>
                <a:moveTo>
                  <a:pt x="16" y="56"/>
                </a:moveTo>
                <a:cubicBezTo>
                  <a:pt x="17" y="58"/>
                  <a:pt x="19" y="59"/>
                  <a:pt x="21" y="61"/>
                </a:cubicBezTo>
                <a:cubicBezTo>
                  <a:pt x="22" y="62"/>
                  <a:pt x="24" y="66"/>
                  <a:pt x="27" y="65"/>
                </a:cubicBezTo>
                <a:cubicBezTo>
                  <a:pt x="27" y="64"/>
                  <a:pt x="27" y="64"/>
                  <a:pt x="27" y="64"/>
                </a:cubicBezTo>
                <a:cubicBezTo>
                  <a:pt x="22" y="62"/>
                  <a:pt x="21" y="57"/>
                  <a:pt x="16" y="56"/>
                </a:cubicBezTo>
                <a:close/>
              </a:path>
            </a:pathLst>
          </a:custGeom>
          <a:solidFill>
            <a:srgbClr val="6464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98">
            <a:extLst>
              <a:ext uri="{FF2B5EF4-FFF2-40B4-BE49-F238E27FC236}">
                <a16:creationId xmlns:a16="http://schemas.microsoft.com/office/drawing/2014/main" id="{2908FC6A-3EC2-405B-9018-17280D55EE8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0137" y="2363029"/>
            <a:ext cx="586769" cy="548640"/>
          </a:xfrm>
          <a:custGeom>
            <a:avLst/>
            <a:gdLst>
              <a:gd name="T0" fmla="*/ 45 w 75"/>
              <a:gd name="T1" fmla="*/ 48 h 70"/>
              <a:gd name="T2" fmla="*/ 24 w 75"/>
              <a:gd name="T3" fmla="*/ 70 h 70"/>
              <a:gd name="T4" fmla="*/ 16 w 75"/>
              <a:gd name="T5" fmla="*/ 49 h 70"/>
              <a:gd name="T6" fmla="*/ 10 w 75"/>
              <a:gd name="T7" fmla="*/ 13 h 70"/>
              <a:gd name="T8" fmla="*/ 57 w 75"/>
              <a:gd name="T9" fmla="*/ 0 h 70"/>
              <a:gd name="T10" fmla="*/ 75 w 75"/>
              <a:gd name="T11" fmla="*/ 47 h 70"/>
              <a:gd name="T12" fmla="*/ 41 w 75"/>
              <a:gd name="T13" fmla="*/ 23 h 70"/>
              <a:gd name="T14" fmla="*/ 71 w 75"/>
              <a:gd name="T15" fmla="*/ 50 h 70"/>
              <a:gd name="T16" fmla="*/ 64 w 75"/>
              <a:gd name="T17" fmla="*/ 8 h 70"/>
              <a:gd name="T18" fmla="*/ 65 w 75"/>
              <a:gd name="T19" fmla="*/ 16 h 70"/>
              <a:gd name="T20" fmla="*/ 47 w 75"/>
              <a:gd name="T21" fmla="*/ 14 h 70"/>
              <a:gd name="T22" fmla="*/ 62 w 75"/>
              <a:gd name="T23" fmla="*/ 21 h 70"/>
              <a:gd name="T24" fmla="*/ 64 w 75"/>
              <a:gd name="T25" fmla="*/ 19 h 70"/>
              <a:gd name="T26" fmla="*/ 64 w 75"/>
              <a:gd name="T27" fmla="*/ 45 h 70"/>
              <a:gd name="T28" fmla="*/ 23 w 75"/>
              <a:gd name="T29" fmla="*/ 14 h 70"/>
              <a:gd name="T30" fmla="*/ 70 w 75"/>
              <a:gd name="T31" fmla="*/ 51 h 70"/>
              <a:gd name="T32" fmla="*/ 15 w 75"/>
              <a:gd name="T33" fmla="*/ 10 h 70"/>
              <a:gd name="T34" fmla="*/ 66 w 75"/>
              <a:gd name="T35" fmla="*/ 54 h 70"/>
              <a:gd name="T36" fmla="*/ 65 w 75"/>
              <a:gd name="T37" fmla="*/ 56 h 70"/>
              <a:gd name="T38" fmla="*/ 13 w 75"/>
              <a:gd name="T39" fmla="*/ 14 h 70"/>
              <a:gd name="T40" fmla="*/ 65 w 75"/>
              <a:gd name="T41" fmla="*/ 57 h 70"/>
              <a:gd name="T42" fmla="*/ 49 w 75"/>
              <a:gd name="T43" fmla="*/ 50 h 70"/>
              <a:gd name="T44" fmla="*/ 57 w 75"/>
              <a:gd name="T45" fmla="*/ 56 h 70"/>
              <a:gd name="T46" fmla="*/ 29 w 75"/>
              <a:gd name="T47" fmla="*/ 30 h 70"/>
              <a:gd name="T48" fmla="*/ 46 w 75"/>
              <a:gd name="T49" fmla="*/ 15 h 70"/>
              <a:gd name="T50" fmla="*/ 46 w 75"/>
              <a:gd name="T51" fmla="*/ 15 h 70"/>
              <a:gd name="T52" fmla="*/ 54 w 75"/>
              <a:gd name="T53" fmla="*/ 30 h 70"/>
              <a:gd name="T54" fmla="*/ 51 w 75"/>
              <a:gd name="T55" fmla="*/ 51 h 70"/>
              <a:gd name="T56" fmla="*/ 47 w 75"/>
              <a:gd name="T57" fmla="*/ 20 h 70"/>
              <a:gd name="T58" fmla="*/ 45 w 75"/>
              <a:gd name="T59" fmla="*/ 19 h 70"/>
              <a:gd name="T60" fmla="*/ 43 w 75"/>
              <a:gd name="T61" fmla="*/ 46 h 70"/>
              <a:gd name="T62" fmla="*/ 40 w 75"/>
              <a:gd name="T63" fmla="*/ 50 h 70"/>
              <a:gd name="T64" fmla="*/ 20 w 75"/>
              <a:gd name="T65" fmla="*/ 4 h 70"/>
              <a:gd name="T66" fmla="*/ 20 w 75"/>
              <a:gd name="T67" fmla="*/ 4 h 70"/>
              <a:gd name="T68" fmla="*/ 38 w 75"/>
              <a:gd name="T69" fmla="*/ 52 h 70"/>
              <a:gd name="T70" fmla="*/ 23 w 75"/>
              <a:gd name="T71" fmla="*/ 45 h 70"/>
              <a:gd name="T72" fmla="*/ 35 w 75"/>
              <a:gd name="T73" fmla="*/ 54 h 70"/>
              <a:gd name="T74" fmla="*/ 30 w 75"/>
              <a:gd name="T75" fmla="*/ 61 h 70"/>
              <a:gd name="T76" fmla="*/ 32 w 75"/>
              <a:gd name="T77" fmla="*/ 58 h 70"/>
              <a:gd name="T78" fmla="*/ 17 w 75"/>
              <a:gd name="T79" fmla="*/ 52 h 70"/>
              <a:gd name="T80" fmla="*/ 17 w 75"/>
              <a:gd name="T81" fmla="*/ 52 h 70"/>
              <a:gd name="T82" fmla="*/ 27 w 75"/>
              <a:gd name="T83" fmla="*/ 6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5" h="70">
                <a:moveTo>
                  <a:pt x="62" y="62"/>
                </a:moveTo>
                <a:cubicBezTo>
                  <a:pt x="59" y="59"/>
                  <a:pt x="57" y="57"/>
                  <a:pt x="52" y="53"/>
                </a:cubicBezTo>
                <a:cubicBezTo>
                  <a:pt x="50" y="52"/>
                  <a:pt x="47" y="48"/>
                  <a:pt x="45" y="48"/>
                </a:cubicBezTo>
                <a:cubicBezTo>
                  <a:pt x="42" y="48"/>
                  <a:pt x="38" y="53"/>
                  <a:pt x="36" y="56"/>
                </a:cubicBezTo>
                <a:cubicBezTo>
                  <a:pt x="33" y="59"/>
                  <a:pt x="30" y="63"/>
                  <a:pt x="29" y="65"/>
                </a:cubicBezTo>
                <a:cubicBezTo>
                  <a:pt x="27" y="67"/>
                  <a:pt x="27" y="70"/>
                  <a:pt x="24" y="70"/>
                </a:cubicBezTo>
                <a:cubicBezTo>
                  <a:pt x="23" y="66"/>
                  <a:pt x="19" y="63"/>
                  <a:pt x="16" y="60"/>
                </a:cubicBezTo>
                <a:cubicBezTo>
                  <a:pt x="14" y="59"/>
                  <a:pt x="11" y="58"/>
                  <a:pt x="11" y="56"/>
                </a:cubicBezTo>
                <a:cubicBezTo>
                  <a:pt x="11" y="54"/>
                  <a:pt x="15" y="51"/>
                  <a:pt x="16" y="49"/>
                </a:cubicBezTo>
                <a:cubicBezTo>
                  <a:pt x="20" y="45"/>
                  <a:pt x="25" y="41"/>
                  <a:pt x="29" y="35"/>
                </a:cubicBezTo>
                <a:cubicBezTo>
                  <a:pt x="25" y="33"/>
                  <a:pt x="22" y="30"/>
                  <a:pt x="17" y="26"/>
                </a:cubicBezTo>
                <a:cubicBezTo>
                  <a:pt x="13" y="23"/>
                  <a:pt x="0" y="16"/>
                  <a:pt x="10" y="13"/>
                </a:cubicBezTo>
                <a:cubicBezTo>
                  <a:pt x="13" y="9"/>
                  <a:pt x="17" y="5"/>
                  <a:pt x="20" y="0"/>
                </a:cubicBezTo>
                <a:cubicBezTo>
                  <a:pt x="27" y="6"/>
                  <a:pt x="33" y="13"/>
                  <a:pt x="41" y="19"/>
                </a:cubicBezTo>
                <a:cubicBezTo>
                  <a:pt x="47" y="13"/>
                  <a:pt x="51" y="6"/>
                  <a:pt x="57" y="0"/>
                </a:cubicBezTo>
                <a:cubicBezTo>
                  <a:pt x="63" y="3"/>
                  <a:pt x="68" y="7"/>
                  <a:pt x="73" y="11"/>
                </a:cubicBezTo>
                <a:cubicBezTo>
                  <a:pt x="69" y="18"/>
                  <a:pt x="61" y="22"/>
                  <a:pt x="56" y="29"/>
                </a:cubicBezTo>
                <a:cubicBezTo>
                  <a:pt x="62" y="36"/>
                  <a:pt x="67" y="43"/>
                  <a:pt x="75" y="47"/>
                </a:cubicBezTo>
                <a:cubicBezTo>
                  <a:pt x="71" y="53"/>
                  <a:pt x="67" y="58"/>
                  <a:pt x="62" y="62"/>
                </a:cubicBezTo>
                <a:close/>
                <a:moveTo>
                  <a:pt x="72" y="48"/>
                </a:moveTo>
                <a:cubicBezTo>
                  <a:pt x="61" y="41"/>
                  <a:pt x="53" y="29"/>
                  <a:pt x="41" y="23"/>
                </a:cubicBezTo>
                <a:cubicBezTo>
                  <a:pt x="41" y="26"/>
                  <a:pt x="44" y="28"/>
                  <a:pt x="47" y="30"/>
                </a:cubicBezTo>
                <a:cubicBezTo>
                  <a:pt x="54" y="36"/>
                  <a:pt x="62" y="42"/>
                  <a:pt x="70" y="48"/>
                </a:cubicBezTo>
                <a:cubicBezTo>
                  <a:pt x="71" y="49"/>
                  <a:pt x="70" y="50"/>
                  <a:pt x="71" y="50"/>
                </a:cubicBezTo>
                <a:cubicBezTo>
                  <a:pt x="71" y="49"/>
                  <a:pt x="72" y="49"/>
                  <a:pt x="72" y="48"/>
                </a:cubicBezTo>
                <a:close/>
                <a:moveTo>
                  <a:pt x="70" y="11"/>
                </a:moveTo>
                <a:cubicBezTo>
                  <a:pt x="68" y="10"/>
                  <a:pt x="66" y="8"/>
                  <a:pt x="64" y="8"/>
                </a:cubicBezTo>
                <a:cubicBezTo>
                  <a:pt x="64" y="10"/>
                  <a:pt x="69" y="11"/>
                  <a:pt x="67" y="14"/>
                </a:cubicBezTo>
                <a:cubicBezTo>
                  <a:pt x="63" y="11"/>
                  <a:pt x="61" y="6"/>
                  <a:pt x="55" y="4"/>
                </a:cubicBezTo>
                <a:cubicBezTo>
                  <a:pt x="57" y="10"/>
                  <a:pt x="63" y="11"/>
                  <a:pt x="65" y="16"/>
                </a:cubicBezTo>
                <a:cubicBezTo>
                  <a:pt x="65" y="16"/>
                  <a:pt x="65" y="16"/>
                  <a:pt x="64" y="17"/>
                </a:cubicBezTo>
                <a:cubicBezTo>
                  <a:pt x="61" y="13"/>
                  <a:pt x="57" y="10"/>
                  <a:pt x="53" y="6"/>
                </a:cubicBezTo>
                <a:cubicBezTo>
                  <a:pt x="52" y="9"/>
                  <a:pt x="49" y="12"/>
                  <a:pt x="47" y="14"/>
                </a:cubicBezTo>
                <a:cubicBezTo>
                  <a:pt x="53" y="16"/>
                  <a:pt x="54" y="22"/>
                  <a:pt x="59" y="24"/>
                </a:cubicBezTo>
                <a:cubicBezTo>
                  <a:pt x="60" y="18"/>
                  <a:pt x="51" y="16"/>
                  <a:pt x="50" y="12"/>
                </a:cubicBezTo>
                <a:cubicBezTo>
                  <a:pt x="55" y="14"/>
                  <a:pt x="57" y="19"/>
                  <a:pt x="62" y="21"/>
                </a:cubicBezTo>
                <a:cubicBezTo>
                  <a:pt x="61" y="18"/>
                  <a:pt x="58" y="15"/>
                  <a:pt x="55" y="13"/>
                </a:cubicBezTo>
                <a:cubicBezTo>
                  <a:pt x="54" y="12"/>
                  <a:pt x="51" y="12"/>
                  <a:pt x="53" y="9"/>
                </a:cubicBezTo>
                <a:cubicBezTo>
                  <a:pt x="57" y="12"/>
                  <a:pt x="59" y="16"/>
                  <a:pt x="64" y="19"/>
                </a:cubicBezTo>
                <a:cubicBezTo>
                  <a:pt x="66" y="16"/>
                  <a:pt x="69" y="14"/>
                  <a:pt x="70" y="11"/>
                </a:cubicBezTo>
                <a:close/>
                <a:moveTo>
                  <a:pt x="70" y="51"/>
                </a:moveTo>
                <a:cubicBezTo>
                  <a:pt x="67" y="50"/>
                  <a:pt x="66" y="47"/>
                  <a:pt x="64" y="45"/>
                </a:cubicBezTo>
                <a:cubicBezTo>
                  <a:pt x="50" y="34"/>
                  <a:pt x="36" y="23"/>
                  <a:pt x="23" y="11"/>
                </a:cubicBezTo>
                <a:cubicBezTo>
                  <a:pt x="22" y="10"/>
                  <a:pt x="20" y="7"/>
                  <a:pt x="17" y="8"/>
                </a:cubicBezTo>
                <a:cubicBezTo>
                  <a:pt x="18" y="10"/>
                  <a:pt x="21" y="12"/>
                  <a:pt x="23" y="14"/>
                </a:cubicBezTo>
                <a:cubicBezTo>
                  <a:pt x="36" y="25"/>
                  <a:pt x="50" y="36"/>
                  <a:pt x="63" y="47"/>
                </a:cubicBezTo>
                <a:cubicBezTo>
                  <a:pt x="65" y="49"/>
                  <a:pt x="67" y="51"/>
                  <a:pt x="70" y="52"/>
                </a:cubicBezTo>
                <a:cubicBezTo>
                  <a:pt x="70" y="51"/>
                  <a:pt x="70" y="51"/>
                  <a:pt x="70" y="51"/>
                </a:cubicBezTo>
                <a:close/>
                <a:moveTo>
                  <a:pt x="54" y="42"/>
                </a:moveTo>
                <a:cubicBezTo>
                  <a:pt x="44" y="34"/>
                  <a:pt x="37" y="27"/>
                  <a:pt x="29" y="20"/>
                </a:cubicBezTo>
                <a:cubicBezTo>
                  <a:pt x="24" y="17"/>
                  <a:pt x="20" y="13"/>
                  <a:pt x="15" y="10"/>
                </a:cubicBezTo>
                <a:cubicBezTo>
                  <a:pt x="17" y="16"/>
                  <a:pt x="23" y="19"/>
                  <a:pt x="27" y="22"/>
                </a:cubicBezTo>
                <a:cubicBezTo>
                  <a:pt x="31" y="26"/>
                  <a:pt x="35" y="30"/>
                  <a:pt x="40" y="32"/>
                </a:cubicBezTo>
                <a:cubicBezTo>
                  <a:pt x="48" y="40"/>
                  <a:pt x="58" y="47"/>
                  <a:pt x="66" y="54"/>
                </a:cubicBezTo>
                <a:cubicBezTo>
                  <a:pt x="67" y="54"/>
                  <a:pt x="67" y="54"/>
                  <a:pt x="67" y="53"/>
                </a:cubicBezTo>
                <a:cubicBezTo>
                  <a:pt x="65" y="49"/>
                  <a:pt x="58" y="45"/>
                  <a:pt x="54" y="42"/>
                </a:cubicBezTo>
                <a:close/>
                <a:moveTo>
                  <a:pt x="65" y="56"/>
                </a:moveTo>
                <a:cubicBezTo>
                  <a:pt x="62" y="52"/>
                  <a:pt x="57" y="48"/>
                  <a:pt x="52" y="44"/>
                </a:cubicBezTo>
                <a:cubicBezTo>
                  <a:pt x="41" y="36"/>
                  <a:pt x="30" y="26"/>
                  <a:pt x="19" y="18"/>
                </a:cubicBezTo>
                <a:cubicBezTo>
                  <a:pt x="18" y="16"/>
                  <a:pt x="15" y="13"/>
                  <a:pt x="13" y="14"/>
                </a:cubicBezTo>
                <a:cubicBezTo>
                  <a:pt x="16" y="19"/>
                  <a:pt x="21" y="22"/>
                  <a:pt x="25" y="25"/>
                </a:cubicBezTo>
                <a:cubicBezTo>
                  <a:pt x="30" y="29"/>
                  <a:pt x="34" y="32"/>
                  <a:pt x="39" y="36"/>
                </a:cubicBezTo>
                <a:cubicBezTo>
                  <a:pt x="48" y="42"/>
                  <a:pt x="56" y="50"/>
                  <a:pt x="65" y="57"/>
                </a:cubicBezTo>
                <a:cubicBezTo>
                  <a:pt x="65" y="57"/>
                  <a:pt x="65" y="57"/>
                  <a:pt x="65" y="56"/>
                </a:cubicBezTo>
                <a:close/>
                <a:moveTo>
                  <a:pt x="49" y="49"/>
                </a:moveTo>
                <a:cubicBezTo>
                  <a:pt x="49" y="50"/>
                  <a:pt x="49" y="50"/>
                  <a:pt x="49" y="50"/>
                </a:cubicBezTo>
                <a:cubicBezTo>
                  <a:pt x="50" y="50"/>
                  <a:pt x="50" y="50"/>
                  <a:pt x="50" y="49"/>
                </a:cubicBezTo>
                <a:cubicBezTo>
                  <a:pt x="53" y="51"/>
                  <a:pt x="55" y="53"/>
                  <a:pt x="57" y="56"/>
                </a:cubicBezTo>
                <a:cubicBezTo>
                  <a:pt x="56" y="56"/>
                  <a:pt x="57" y="56"/>
                  <a:pt x="57" y="56"/>
                </a:cubicBezTo>
                <a:cubicBezTo>
                  <a:pt x="59" y="56"/>
                  <a:pt x="59" y="58"/>
                  <a:pt x="61" y="58"/>
                </a:cubicBezTo>
                <a:cubicBezTo>
                  <a:pt x="60" y="55"/>
                  <a:pt x="57" y="52"/>
                  <a:pt x="55" y="50"/>
                </a:cubicBezTo>
                <a:cubicBezTo>
                  <a:pt x="47" y="43"/>
                  <a:pt x="37" y="37"/>
                  <a:pt x="29" y="30"/>
                </a:cubicBezTo>
                <a:cubicBezTo>
                  <a:pt x="23" y="26"/>
                  <a:pt x="18" y="21"/>
                  <a:pt x="11" y="17"/>
                </a:cubicBezTo>
                <a:cubicBezTo>
                  <a:pt x="22" y="30"/>
                  <a:pt x="39" y="36"/>
                  <a:pt x="49" y="49"/>
                </a:cubicBezTo>
                <a:close/>
                <a:moveTo>
                  <a:pt x="46" y="15"/>
                </a:moveTo>
                <a:cubicBezTo>
                  <a:pt x="48" y="20"/>
                  <a:pt x="53" y="23"/>
                  <a:pt x="56" y="27"/>
                </a:cubicBezTo>
                <a:cubicBezTo>
                  <a:pt x="56" y="26"/>
                  <a:pt x="57" y="26"/>
                  <a:pt x="57" y="25"/>
                </a:cubicBezTo>
                <a:cubicBezTo>
                  <a:pt x="54" y="21"/>
                  <a:pt x="51" y="17"/>
                  <a:pt x="46" y="15"/>
                </a:cubicBezTo>
                <a:close/>
                <a:moveTo>
                  <a:pt x="44" y="20"/>
                </a:moveTo>
                <a:cubicBezTo>
                  <a:pt x="42" y="22"/>
                  <a:pt x="44" y="23"/>
                  <a:pt x="45" y="23"/>
                </a:cubicBezTo>
                <a:cubicBezTo>
                  <a:pt x="47" y="26"/>
                  <a:pt x="50" y="28"/>
                  <a:pt x="54" y="30"/>
                </a:cubicBezTo>
                <a:cubicBezTo>
                  <a:pt x="52" y="25"/>
                  <a:pt x="47" y="22"/>
                  <a:pt x="44" y="20"/>
                </a:cubicBezTo>
                <a:close/>
                <a:moveTo>
                  <a:pt x="51" y="51"/>
                </a:moveTo>
                <a:cubicBezTo>
                  <a:pt x="51" y="52"/>
                  <a:pt x="52" y="51"/>
                  <a:pt x="51" y="51"/>
                </a:cubicBezTo>
                <a:close/>
                <a:moveTo>
                  <a:pt x="47" y="20"/>
                </a:moveTo>
                <a:cubicBezTo>
                  <a:pt x="47" y="20"/>
                  <a:pt x="48" y="21"/>
                  <a:pt x="48" y="20"/>
                </a:cubicBezTo>
                <a:cubicBezTo>
                  <a:pt x="47" y="20"/>
                  <a:pt x="47" y="19"/>
                  <a:pt x="47" y="20"/>
                </a:cubicBezTo>
                <a:close/>
                <a:moveTo>
                  <a:pt x="45" y="19"/>
                </a:moveTo>
                <a:cubicBezTo>
                  <a:pt x="45" y="18"/>
                  <a:pt x="47" y="20"/>
                  <a:pt x="46" y="18"/>
                </a:cubicBezTo>
                <a:cubicBezTo>
                  <a:pt x="45" y="18"/>
                  <a:pt x="44" y="19"/>
                  <a:pt x="45" y="19"/>
                </a:cubicBezTo>
                <a:close/>
                <a:moveTo>
                  <a:pt x="32" y="39"/>
                </a:moveTo>
                <a:cubicBezTo>
                  <a:pt x="31" y="39"/>
                  <a:pt x="32" y="37"/>
                  <a:pt x="30" y="38"/>
                </a:cubicBezTo>
                <a:cubicBezTo>
                  <a:pt x="33" y="41"/>
                  <a:pt x="39" y="45"/>
                  <a:pt x="43" y="46"/>
                </a:cubicBezTo>
                <a:cubicBezTo>
                  <a:pt x="40" y="44"/>
                  <a:pt x="38" y="37"/>
                  <a:pt x="32" y="39"/>
                </a:cubicBezTo>
                <a:close/>
                <a:moveTo>
                  <a:pt x="28" y="40"/>
                </a:moveTo>
                <a:cubicBezTo>
                  <a:pt x="31" y="44"/>
                  <a:pt x="35" y="47"/>
                  <a:pt x="40" y="50"/>
                </a:cubicBezTo>
                <a:cubicBezTo>
                  <a:pt x="40" y="49"/>
                  <a:pt x="41" y="49"/>
                  <a:pt x="41" y="48"/>
                </a:cubicBezTo>
                <a:cubicBezTo>
                  <a:pt x="36" y="47"/>
                  <a:pt x="33" y="40"/>
                  <a:pt x="28" y="40"/>
                </a:cubicBezTo>
                <a:close/>
                <a:moveTo>
                  <a:pt x="20" y="4"/>
                </a:moveTo>
                <a:cubicBezTo>
                  <a:pt x="23" y="12"/>
                  <a:pt x="33" y="17"/>
                  <a:pt x="39" y="23"/>
                </a:cubicBezTo>
                <a:cubicBezTo>
                  <a:pt x="39" y="23"/>
                  <a:pt x="40" y="24"/>
                  <a:pt x="40" y="23"/>
                </a:cubicBezTo>
                <a:cubicBezTo>
                  <a:pt x="34" y="16"/>
                  <a:pt x="27" y="10"/>
                  <a:pt x="20" y="4"/>
                </a:cubicBezTo>
                <a:close/>
                <a:moveTo>
                  <a:pt x="27" y="42"/>
                </a:moveTo>
                <a:cubicBezTo>
                  <a:pt x="26" y="44"/>
                  <a:pt x="29" y="45"/>
                  <a:pt x="30" y="47"/>
                </a:cubicBezTo>
                <a:cubicBezTo>
                  <a:pt x="33" y="49"/>
                  <a:pt x="35" y="52"/>
                  <a:pt x="38" y="52"/>
                </a:cubicBezTo>
                <a:cubicBezTo>
                  <a:pt x="35" y="48"/>
                  <a:pt x="30" y="44"/>
                  <a:pt x="27" y="42"/>
                </a:cubicBezTo>
                <a:close/>
                <a:moveTo>
                  <a:pt x="35" y="54"/>
                </a:moveTo>
                <a:cubicBezTo>
                  <a:pt x="31" y="51"/>
                  <a:pt x="29" y="44"/>
                  <a:pt x="23" y="45"/>
                </a:cubicBezTo>
                <a:cubicBezTo>
                  <a:pt x="24" y="49"/>
                  <a:pt x="28" y="51"/>
                  <a:pt x="32" y="53"/>
                </a:cubicBezTo>
                <a:cubicBezTo>
                  <a:pt x="32" y="54"/>
                  <a:pt x="33" y="56"/>
                  <a:pt x="35" y="55"/>
                </a:cubicBezTo>
                <a:cubicBezTo>
                  <a:pt x="35" y="55"/>
                  <a:pt x="35" y="54"/>
                  <a:pt x="35" y="54"/>
                </a:cubicBezTo>
                <a:close/>
                <a:moveTo>
                  <a:pt x="21" y="47"/>
                </a:moveTo>
                <a:cubicBezTo>
                  <a:pt x="20" y="48"/>
                  <a:pt x="19" y="49"/>
                  <a:pt x="18" y="51"/>
                </a:cubicBezTo>
                <a:cubicBezTo>
                  <a:pt x="22" y="55"/>
                  <a:pt x="27" y="57"/>
                  <a:pt x="30" y="61"/>
                </a:cubicBezTo>
                <a:cubicBezTo>
                  <a:pt x="32" y="59"/>
                  <a:pt x="29" y="57"/>
                  <a:pt x="27" y="55"/>
                </a:cubicBezTo>
                <a:cubicBezTo>
                  <a:pt x="25" y="53"/>
                  <a:pt x="20" y="51"/>
                  <a:pt x="21" y="49"/>
                </a:cubicBezTo>
                <a:cubicBezTo>
                  <a:pt x="25" y="52"/>
                  <a:pt x="28" y="54"/>
                  <a:pt x="32" y="58"/>
                </a:cubicBezTo>
                <a:cubicBezTo>
                  <a:pt x="32" y="58"/>
                  <a:pt x="33" y="58"/>
                  <a:pt x="32" y="57"/>
                </a:cubicBezTo>
                <a:cubicBezTo>
                  <a:pt x="29" y="53"/>
                  <a:pt x="26" y="49"/>
                  <a:pt x="21" y="47"/>
                </a:cubicBezTo>
                <a:close/>
                <a:moveTo>
                  <a:pt x="17" y="52"/>
                </a:moveTo>
                <a:cubicBezTo>
                  <a:pt x="18" y="57"/>
                  <a:pt x="25" y="59"/>
                  <a:pt x="28" y="63"/>
                </a:cubicBezTo>
                <a:cubicBezTo>
                  <a:pt x="28" y="62"/>
                  <a:pt x="29" y="62"/>
                  <a:pt x="29" y="62"/>
                </a:cubicBezTo>
                <a:cubicBezTo>
                  <a:pt x="24" y="59"/>
                  <a:pt x="21" y="53"/>
                  <a:pt x="17" y="52"/>
                </a:cubicBezTo>
                <a:close/>
                <a:moveTo>
                  <a:pt x="16" y="56"/>
                </a:moveTo>
                <a:cubicBezTo>
                  <a:pt x="17" y="58"/>
                  <a:pt x="19" y="59"/>
                  <a:pt x="21" y="61"/>
                </a:cubicBezTo>
                <a:cubicBezTo>
                  <a:pt x="22" y="62"/>
                  <a:pt x="24" y="66"/>
                  <a:pt x="27" y="65"/>
                </a:cubicBezTo>
                <a:cubicBezTo>
                  <a:pt x="27" y="64"/>
                  <a:pt x="27" y="64"/>
                  <a:pt x="27" y="64"/>
                </a:cubicBezTo>
                <a:cubicBezTo>
                  <a:pt x="22" y="62"/>
                  <a:pt x="21" y="57"/>
                  <a:pt x="16" y="56"/>
                </a:cubicBezTo>
                <a:close/>
              </a:path>
            </a:pathLst>
          </a:custGeom>
          <a:solidFill>
            <a:srgbClr val="6464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98">
            <a:extLst>
              <a:ext uri="{FF2B5EF4-FFF2-40B4-BE49-F238E27FC236}">
                <a16:creationId xmlns:a16="http://schemas.microsoft.com/office/drawing/2014/main" id="{7BE076F4-5C1D-4D7B-89E3-2B8E1AE2F54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0137" y="5698515"/>
            <a:ext cx="586769" cy="548640"/>
          </a:xfrm>
          <a:custGeom>
            <a:avLst/>
            <a:gdLst>
              <a:gd name="T0" fmla="*/ 45 w 75"/>
              <a:gd name="T1" fmla="*/ 48 h 70"/>
              <a:gd name="T2" fmla="*/ 24 w 75"/>
              <a:gd name="T3" fmla="*/ 70 h 70"/>
              <a:gd name="T4" fmla="*/ 16 w 75"/>
              <a:gd name="T5" fmla="*/ 49 h 70"/>
              <a:gd name="T6" fmla="*/ 10 w 75"/>
              <a:gd name="T7" fmla="*/ 13 h 70"/>
              <a:gd name="T8" fmla="*/ 57 w 75"/>
              <a:gd name="T9" fmla="*/ 0 h 70"/>
              <a:gd name="T10" fmla="*/ 75 w 75"/>
              <a:gd name="T11" fmla="*/ 47 h 70"/>
              <a:gd name="T12" fmla="*/ 41 w 75"/>
              <a:gd name="T13" fmla="*/ 23 h 70"/>
              <a:gd name="T14" fmla="*/ 71 w 75"/>
              <a:gd name="T15" fmla="*/ 50 h 70"/>
              <a:gd name="T16" fmla="*/ 64 w 75"/>
              <a:gd name="T17" fmla="*/ 8 h 70"/>
              <a:gd name="T18" fmla="*/ 65 w 75"/>
              <a:gd name="T19" fmla="*/ 16 h 70"/>
              <a:gd name="T20" fmla="*/ 47 w 75"/>
              <a:gd name="T21" fmla="*/ 14 h 70"/>
              <a:gd name="T22" fmla="*/ 62 w 75"/>
              <a:gd name="T23" fmla="*/ 21 h 70"/>
              <a:gd name="T24" fmla="*/ 64 w 75"/>
              <a:gd name="T25" fmla="*/ 19 h 70"/>
              <a:gd name="T26" fmla="*/ 64 w 75"/>
              <a:gd name="T27" fmla="*/ 45 h 70"/>
              <a:gd name="T28" fmla="*/ 23 w 75"/>
              <a:gd name="T29" fmla="*/ 14 h 70"/>
              <a:gd name="T30" fmla="*/ 70 w 75"/>
              <a:gd name="T31" fmla="*/ 51 h 70"/>
              <a:gd name="T32" fmla="*/ 15 w 75"/>
              <a:gd name="T33" fmla="*/ 10 h 70"/>
              <a:gd name="T34" fmla="*/ 66 w 75"/>
              <a:gd name="T35" fmla="*/ 54 h 70"/>
              <a:gd name="T36" fmla="*/ 65 w 75"/>
              <a:gd name="T37" fmla="*/ 56 h 70"/>
              <a:gd name="T38" fmla="*/ 13 w 75"/>
              <a:gd name="T39" fmla="*/ 14 h 70"/>
              <a:gd name="T40" fmla="*/ 65 w 75"/>
              <a:gd name="T41" fmla="*/ 57 h 70"/>
              <a:gd name="T42" fmla="*/ 49 w 75"/>
              <a:gd name="T43" fmla="*/ 50 h 70"/>
              <a:gd name="T44" fmla="*/ 57 w 75"/>
              <a:gd name="T45" fmla="*/ 56 h 70"/>
              <a:gd name="T46" fmla="*/ 29 w 75"/>
              <a:gd name="T47" fmla="*/ 30 h 70"/>
              <a:gd name="T48" fmla="*/ 46 w 75"/>
              <a:gd name="T49" fmla="*/ 15 h 70"/>
              <a:gd name="T50" fmla="*/ 46 w 75"/>
              <a:gd name="T51" fmla="*/ 15 h 70"/>
              <a:gd name="T52" fmla="*/ 54 w 75"/>
              <a:gd name="T53" fmla="*/ 30 h 70"/>
              <a:gd name="T54" fmla="*/ 51 w 75"/>
              <a:gd name="T55" fmla="*/ 51 h 70"/>
              <a:gd name="T56" fmla="*/ 47 w 75"/>
              <a:gd name="T57" fmla="*/ 20 h 70"/>
              <a:gd name="T58" fmla="*/ 45 w 75"/>
              <a:gd name="T59" fmla="*/ 19 h 70"/>
              <a:gd name="T60" fmla="*/ 43 w 75"/>
              <a:gd name="T61" fmla="*/ 46 h 70"/>
              <a:gd name="T62" fmla="*/ 40 w 75"/>
              <a:gd name="T63" fmla="*/ 50 h 70"/>
              <a:gd name="T64" fmla="*/ 20 w 75"/>
              <a:gd name="T65" fmla="*/ 4 h 70"/>
              <a:gd name="T66" fmla="*/ 20 w 75"/>
              <a:gd name="T67" fmla="*/ 4 h 70"/>
              <a:gd name="T68" fmla="*/ 38 w 75"/>
              <a:gd name="T69" fmla="*/ 52 h 70"/>
              <a:gd name="T70" fmla="*/ 23 w 75"/>
              <a:gd name="T71" fmla="*/ 45 h 70"/>
              <a:gd name="T72" fmla="*/ 35 w 75"/>
              <a:gd name="T73" fmla="*/ 54 h 70"/>
              <a:gd name="T74" fmla="*/ 30 w 75"/>
              <a:gd name="T75" fmla="*/ 61 h 70"/>
              <a:gd name="T76" fmla="*/ 32 w 75"/>
              <a:gd name="T77" fmla="*/ 58 h 70"/>
              <a:gd name="T78" fmla="*/ 17 w 75"/>
              <a:gd name="T79" fmla="*/ 52 h 70"/>
              <a:gd name="T80" fmla="*/ 17 w 75"/>
              <a:gd name="T81" fmla="*/ 52 h 70"/>
              <a:gd name="T82" fmla="*/ 27 w 75"/>
              <a:gd name="T83" fmla="*/ 65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5" h="70">
                <a:moveTo>
                  <a:pt x="62" y="62"/>
                </a:moveTo>
                <a:cubicBezTo>
                  <a:pt x="59" y="59"/>
                  <a:pt x="57" y="57"/>
                  <a:pt x="52" y="53"/>
                </a:cubicBezTo>
                <a:cubicBezTo>
                  <a:pt x="50" y="52"/>
                  <a:pt x="47" y="48"/>
                  <a:pt x="45" y="48"/>
                </a:cubicBezTo>
                <a:cubicBezTo>
                  <a:pt x="42" y="48"/>
                  <a:pt x="38" y="53"/>
                  <a:pt x="36" y="56"/>
                </a:cubicBezTo>
                <a:cubicBezTo>
                  <a:pt x="33" y="59"/>
                  <a:pt x="30" y="63"/>
                  <a:pt x="29" y="65"/>
                </a:cubicBezTo>
                <a:cubicBezTo>
                  <a:pt x="27" y="67"/>
                  <a:pt x="27" y="70"/>
                  <a:pt x="24" y="70"/>
                </a:cubicBezTo>
                <a:cubicBezTo>
                  <a:pt x="23" y="66"/>
                  <a:pt x="19" y="63"/>
                  <a:pt x="16" y="60"/>
                </a:cubicBezTo>
                <a:cubicBezTo>
                  <a:pt x="14" y="59"/>
                  <a:pt x="11" y="58"/>
                  <a:pt x="11" y="56"/>
                </a:cubicBezTo>
                <a:cubicBezTo>
                  <a:pt x="11" y="54"/>
                  <a:pt x="15" y="51"/>
                  <a:pt x="16" y="49"/>
                </a:cubicBezTo>
                <a:cubicBezTo>
                  <a:pt x="20" y="45"/>
                  <a:pt x="25" y="41"/>
                  <a:pt x="29" y="35"/>
                </a:cubicBezTo>
                <a:cubicBezTo>
                  <a:pt x="25" y="33"/>
                  <a:pt x="22" y="30"/>
                  <a:pt x="17" y="26"/>
                </a:cubicBezTo>
                <a:cubicBezTo>
                  <a:pt x="13" y="23"/>
                  <a:pt x="0" y="16"/>
                  <a:pt x="10" y="13"/>
                </a:cubicBezTo>
                <a:cubicBezTo>
                  <a:pt x="13" y="9"/>
                  <a:pt x="17" y="5"/>
                  <a:pt x="20" y="0"/>
                </a:cubicBezTo>
                <a:cubicBezTo>
                  <a:pt x="27" y="6"/>
                  <a:pt x="33" y="13"/>
                  <a:pt x="41" y="19"/>
                </a:cubicBezTo>
                <a:cubicBezTo>
                  <a:pt x="47" y="13"/>
                  <a:pt x="51" y="6"/>
                  <a:pt x="57" y="0"/>
                </a:cubicBezTo>
                <a:cubicBezTo>
                  <a:pt x="63" y="3"/>
                  <a:pt x="68" y="7"/>
                  <a:pt x="73" y="11"/>
                </a:cubicBezTo>
                <a:cubicBezTo>
                  <a:pt x="69" y="18"/>
                  <a:pt x="61" y="22"/>
                  <a:pt x="56" y="29"/>
                </a:cubicBezTo>
                <a:cubicBezTo>
                  <a:pt x="62" y="36"/>
                  <a:pt x="67" y="43"/>
                  <a:pt x="75" y="47"/>
                </a:cubicBezTo>
                <a:cubicBezTo>
                  <a:pt x="71" y="53"/>
                  <a:pt x="67" y="58"/>
                  <a:pt x="62" y="62"/>
                </a:cubicBezTo>
                <a:close/>
                <a:moveTo>
                  <a:pt x="72" y="48"/>
                </a:moveTo>
                <a:cubicBezTo>
                  <a:pt x="61" y="41"/>
                  <a:pt x="53" y="29"/>
                  <a:pt x="41" y="23"/>
                </a:cubicBezTo>
                <a:cubicBezTo>
                  <a:pt x="41" y="26"/>
                  <a:pt x="44" y="28"/>
                  <a:pt x="47" y="30"/>
                </a:cubicBezTo>
                <a:cubicBezTo>
                  <a:pt x="54" y="36"/>
                  <a:pt x="62" y="42"/>
                  <a:pt x="70" y="48"/>
                </a:cubicBezTo>
                <a:cubicBezTo>
                  <a:pt x="71" y="49"/>
                  <a:pt x="70" y="50"/>
                  <a:pt x="71" y="50"/>
                </a:cubicBezTo>
                <a:cubicBezTo>
                  <a:pt x="71" y="49"/>
                  <a:pt x="72" y="49"/>
                  <a:pt x="72" y="48"/>
                </a:cubicBezTo>
                <a:close/>
                <a:moveTo>
                  <a:pt x="70" y="11"/>
                </a:moveTo>
                <a:cubicBezTo>
                  <a:pt x="68" y="10"/>
                  <a:pt x="66" y="8"/>
                  <a:pt x="64" y="8"/>
                </a:cubicBezTo>
                <a:cubicBezTo>
                  <a:pt x="64" y="10"/>
                  <a:pt x="69" y="11"/>
                  <a:pt x="67" y="14"/>
                </a:cubicBezTo>
                <a:cubicBezTo>
                  <a:pt x="63" y="11"/>
                  <a:pt x="61" y="6"/>
                  <a:pt x="55" y="4"/>
                </a:cubicBezTo>
                <a:cubicBezTo>
                  <a:pt x="57" y="10"/>
                  <a:pt x="63" y="11"/>
                  <a:pt x="65" y="16"/>
                </a:cubicBezTo>
                <a:cubicBezTo>
                  <a:pt x="65" y="16"/>
                  <a:pt x="65" y="16"/>
                  <a:pt x="64" y="17"/>
                </a:cubicBezTo>
                <a:cubicBezTo>
                  <a:pt x="61" y="13"/>
                  <a:pt x="57" y="10"/>
                  <a:pt x="53" y="6"/>
                </a:cubicBezTo>
                <a:cubicBezTo>
                  <a:pt x="52" y="9"/>
                  <a:pt x="49" y="12"/>
                  <a:pt x="47" y="14"/>
                </a:cubicBezTo>
                <a:cubicBezTo>
                  <a:pt x="53" y="16"/>
                  <a:pt x="54" y="22"/>
                  <a:pt x="59" y="24"/>
                </a:cubicBezTo>
                <a:cubicBezTo>
                  <a:pt x="60" y="18"/>
                  <a:pt x="51" y="16"/>
                  <a:pt x="50" y="12"/>
                </a:cubicBezTo>
                <a:cubicBezTo>
                  <a:pt x="55" y="14"/>
                  <a:pt x="57" y="19"/>
                  <a:pt x="62" y="21"/>
                </a:cubicBezTo>
                <a:cubicBezTo>
                  <a:pt x="61" y="18"/>
                  <a:pt x="58" y="15"/>
                  <a:pt x="55" y="13"/>
                </a:cubicBezTo>
                <a:cubicBezTo>
                  <a:pt x="54" y="12"/>
                  <a:pt x="51" y="12"/>
                  <a:pt x="53" y="9"/>
                </a:cubicBezTo>
                <a:cubicBezTo>
                  <a:pt x="57" y="12"/>
                  <a:pt x="59" y="16"/>
                  <a:pt x="64" y="19"/>
                </a:cubicBezTo>
                <a:cubicBezTo>
                  <a:pt x="66" y="16"/>
                  <a:pt x="69" y="14"/>
                  <a:pt x="70" y="11"/>
                </a:cubicBezTo>
                <a:close/>
                <a:moveTo>
                  <a:pt x="70" y="51"/>
                </a:moveTo>
                <a:cubicBezTo>
                  <a:pt x="67" y="50"/>
                  <a:pt x="66" y="47"/>
                  <a:pt x="64" y="45"/>
                </a:cubicBezTo>
                <a:cubicBezTo>
                  <a:pt x="50" y="34"/>
                  <a:pt x="36" y="23"/>
                  <a:pt x="23" y="11"/>
                </a:cubicBezTo>
                <a:cubicBezTo>
                  <a:pt x="22" y="10"/>
                  <a:pt x="20" y="7"/>
                  <a:pt x="17" y="8"/>
                </a:cubicBezTo>
                <a:cubicBezTo>
                  <a:pt x="18" y="10"/>
                  <a:pt x="21" y="12"/>
                  <a:pt x="23" y="14"/>
                </a:cubicBezTo>
                <a:cubicBezTo>
                  <a:pt x="36" y="25"/>
                  <a:pt x="50" y="36"/>
                  <a:pt x="63" y="47"/>
                </a:cubicBezTo>
                <a:cubicBezTo>
                  <a:pt x="65" y="49"/>
                  <a:pt x="67" y="51"/>
                  <a:pt x="70" y="52"/>
                </a:cubicBezTo>
                <a:cubicBezTo>
                  <a:pt x="70" y="51"/>
                  <a:pt x="70" y="51"/>
                  <a:pt x="70" y="51"/>
                </a:cubicBezTo>
                <a:close/>
                <a:moveTo>
                  <a:pt x="54" y="42"/>
                </a:moveTo>
                <a:cubicBezTo>
                  <a:pt x="44" y="34"/>
                  <a:pt x="37" y="27"/>
                  <a:pt x="29" y="20"/>
                </a:cubicBezTo>
                <a:cubicBezTo>
                  <a:pt x="24" y="17"/>
                  <a:pt x="20" y="13"/>
                  <a:pt x="15" y="10"/>
                </a:cubicBezTo>
                <a:cubicBezTo>
                  <a:pt x="17" y="16"/>
                  <a:pt x="23" y="19"/>
                  <a:pt x="27" y="22"/>
                </a:cubicBezTo>
                <a:cubicBezTo>
                  <a:pt x="31" y="26"/>
                  <a:pt x="35" y="30"/>
                  <a:pt x="40" y="32"/>
                </a:cubicBezTo>
                <a:cubicBezTo>
                  <a:pt x="48" y="40"/>
                  <a:pt x="58" y="47"/>
                  <a:pt x="66" y="54"/>
                </a:cubicBezTo>
                <a:cubicBezTo>
                  <a:pt x="67" y="54"/>
                  <a:pt x="67" y="54"/>
                  <a:pt x="67" y="53"/>
                </a:cubicBezTo>
                <a:cubicBezTo>
                  <a:pt x="65" y="49"/>
                  <a:pt x="58" y="45"/>
                  <a:pt x="54" y="42"/>
                </a:cubicBezTo>
                <a:close/>
                <a:moveTo>
                  <a:pt x="65" y="56"/>
                </a:moveTo>
                <a:cubicBezTo>
                  <a:pt x="62" y="52"/>
                  <a:pt x="57" y="48"/>
                  <a:pt x="52" y="44"/>
                </a:cubicBezTo>
                <a:cubicBezTo>
                  <a:pt x="41" y="36"/>
                  <a:pt x="30" y="26"/>
                  <a:pt x="19" y="18"/>
                </a:cubicBezTo>
                <a:cubicBezTo>
                  <a:pt x="18" y="16"/>
                  <a:pt x="15" y="13"/>
                  <a:pt x="13" y="14"/>
                </a:cubicBezTo>
                <a:cubicBezTo>
                  <a:pt x="16" y="19"/>
                  <a:pt x="21" y="22"/>
                  <a:pt x="25" y="25"/>
                </a:cubicBezTo>
                <a:cubicBezTo>
                  <a:pt x="30" y="29"/>
                  <a:pt x="34" y="32"/>
                  <a:pt x="39" y="36"/>
                </a:cubicBezTo>
                <a:cubicBezTo>
                  <a:pt x="48" y="42"/>
                  <a:pt x="56" y="50"/>
                  <a:pt x="65" y="57"/>
                </a:cubicBezTo>
                <a:cubicBezTo>
                  <a:pt x="65" y="57"/>
                  <a:pt x="65" y="57"/>
                  <a:pt x="65" y="56"/>
                </a:cubicBezTo>
                <a:close/>
                <a:moveTo>
                  <a:pt x="49" y="49"/>
                </a:moveTo>
                <a:cubicBezTo>
                  <a:pt x="49" y="50"/>
                  <a:pt x="49" y="50"/>
                  <a:pt x="49" y="50"/>
                </a:cubicBezTo>
                <a:cubicBezTo>
                  <a:pt x="50" y="50"/>
                  <a:pt x="50" y="50"/>
                  <a:pt x="50" y="49"/>
                </a:cubicBezTo>
                <a:cubicBezTo>
                  <a:pt x="53" y="51"/>
                  <a:pt x="55" y="53"/>
                  <a:pt x="57" y="56"/>
                </a:cubicBezTo>
                <a:cubicBezTo>
                  <a:pt x="56" y="56"/>
                  <a:pt x="57" y="56"/>
                  <a:pt x="57" y="56"/>
                </a:cubicBezTo>
                <a:cubicBezTo>
                  <a:pt x="59" y="56"/>
                  <a:pt x="59" y="58"/>
                  <a:pt x="61" y="58"/>
                </a:cubicBezTo>
                <a:cubicBezTo>
                  <a:pt x="60" y="55"/>
                  <a:pt x="57" y="52"/>
                  <a:pt x="55" y="50"/>
                </a:cubicBezTo>
                <a:cubicBezTo>
                  <a:pt x="47" y="43"/>
                  <a:pt x="37" y="37"/>
                  <a:pt x="29" y="30"/>
                </a:cubicBezTo>
                <a:cubicBezTo>
                  <a:pt x="23" y="26"/>
                  <a:pt x="18" y="21"/>
                  <a:pt x="11" y="17"/>
                </a:cubicBezTo>
                <a:cubicBezTo>
                  <a:pt x="22" y="30"/>
                  <a:pt x="39" y="36"/>
                  <a:pt x="49" y="49"/>
                </a:cubicBezTo>
                <a:close/>
                <a:moveTo>
                  <a:pt x="46" y="15"/>
                </a:moveTo>
                <a:cubicBezTo>
                  <a:pt x="48" y="20"/>
                  <a:pt x="53" y="23"/>
                  <a:pt x="56" y="27"/>
                </a:cubicBezTo>
                <a:cubicBezTo>
                  <a:pt x="56" y="26"/>
                  <a:pt x="57" y="26"/>
                  <a:pt x="57" y="25"/>
                </a:cubicBezTo>
                <a:cubicBezTo>
                  <a:pt x="54" y="21"/>
                  <a:pt x="51" y="17"/>
                  <a:pt x="46" y="15"/>
                </a:cubicBezTo>
                <a:close/>
                <a:moveTo>
                  <a:pt x="44" y="20"/>
                </a:moveTo>
                <a:cubicBezTo>
                  <a:pt x="42" y="22"/>
                  <a:pt x="44" y="23"/>
                  <a:pt x="45" y="23"/>
                </a:cubicBezTo>
                <a:cubicBezTo>
                  <a:pt x="47" y="26"/>
                  <a:pt x="50" y="28"/>
                  <a:pt x="54" y="30"/>
                </a:cubicBezTo>
                <a:cubicBezTo>
                  <a:pt x="52" y="25"/>
                  <a:pt x="47" y="22"/>
                  <a:pt x="44" y="20"/>
                </a:cubicBezTo>
                <a:close/>
                <a:moveTo>
                  <a:pt x="51" y="51"/>
                </a:moveTo>
                <a:cubicBezTo>
                  <a:pt x="51" y="52"/>
                  <a:pt x="52" y="51"/>
                  <a:pt x="51" y="51"/>
                </a:cubicBezTo>
                <a:close/>
                <a:moveTo>
                  <a:pt x="47" y="20"/>
                </a:moveTo>
                <a:cubicBezTo>
                  <a:pt x="47" y="20"/>
                  <a:pt x="48" y="21"/>
                  <a:pt x="48" y="20"/>
                </a:cubicBezTo>
                <a:cubicBezTo>
                  <a:pt x="47" y="20"/>
                  <a:pt x="47" y="19"/>
                  <a:pt x="47" y="20"/>
                </a:cubicBezTo>
                <a:close/>
                <a:moveTo>
                  <a:pt x="45" y="19"/>
                </a:moveTo>
                <a:cubicBezTo>
                  <a:pt x="45" y="18"/>
                  <a:pt x="47" y="20"/>
                  <a:pt x="46" y="18"/>
                </a:cubicBezTo>
                <a:cubicBezTo>
                  <a:pt x="45" y="18"/>
                  <a:pt x="44" y="19"/>
                  <a:pt x="45" y="19"/>
                </a:cubicBezTo>
                <a:close/>
                <a:moveTo>
                  <a:pt x="32" y="39"/>
                </a:moveTo>
                <a:cubicBezTo>
                  <a:pt x="31" y="39"/>
                  <a:pt x="32" y="37"/>
                  <a:pt x="30" y="38"/>
                </a:cubicBezTo>
                <a:cubicBezTo>
                  <a:pt x="33" y="41"/>
                  <a:pt x="39" y="45"/>
                  <a:pt x="43" y="46"/>
                </a:cubicBezTo>
                <a:cubicBezTo>
                  <a:pt x="40" y="44"/>
                  <a:pt x="38" y="37"/>
                  <a:pt x="32" y="39"/>
                </a:cubicBezTo>
                <a:close/>
                <a:moveTo>
                  <a:pt x="28" y="40"/>
                </a:moveTo>
                <a:cubicBezTo>
                  <a:pt x="31" y="44"/>
                  <a:pt x="35" y="47"/>
                  <a:pt x="40" y="50"/>
                </a:cubicBezTo>
                <a:cubicBezTo>
                  <a:pt x="40" y="49"/>
                  <a:pt x="41" y="49"/>
                  <a:pt x="41" y="48"/>
                </a:cubicBezTo>
                <a:cubicBezTo>
                  <a:pt x="36" y="47"/>
                  <a:pt x="33" y="40"/>
                  <a:pt x="28" y="40"/>
                </a:cubicBezTo>
                <a:close/>
                <a:moveTo>
                  <a:pt x="20" y="4"/>
                </a:moveTo>
                <a:cubicBezTo>
                  <a:pt x="23" y="12"/>
                  <a:pt x="33" y="17"/>
                  <a:pt x="39" y="23"/>
                </a:cubicBezTo>
                <a:cubicBezTo>
                  <a:pt x="39" y="23"/>
                  <a:pt x="40" y="24"/>
                  <a:pt x="40" y="23"/>
                </a:cubicBezTo>
                <a:cubicBezTo>
                  <a:pt x="34" y="16"/>
                  <a:pt x="27" y="10"/>
                  <a:pt x="20" y="4"/>
                </a:cubicBezTo>
                <a:close/>
                <a:moveTo>
                  <a:pt x="27" y="42"/>
                </a:moveTo>
                <a:cubicBezTo>
                  <a:pt x="26" y="44"/>
                  <a:pt x="29" y="45"/>
                  <a:pt x="30" y="47"/>
                </a:cubicBezTo>
                <a:cubicBezTo>
                  <a:pt x="33" y="49"/>
                  <a:pt x="35" y="52"/>
                  <a:pt x="38" y="52"/>
                </a:cubicBezTo>
                <a:cubicBezTo>
                  <a:pt x="35" y="48"/>
                  <a:pt x="30" y="44"/>
                  <a:pt x="27" y="42"/>
                </a:cubicBezTo>
                <a:close/>
                <a:moveTo>
                  <a:pt x="35" y="54"/>
                </a:moveTo>
                <a:cubicBezTo>
                  <a:pt x="31" y="51"/>
                  <a:pt x="29" y="44"/>
                  <a:pt x="23" y="45"/>
                </a:cubicBezTo>
                <a:cubicBezTo>
                  <a:pt x="24" y="49"/>
                  <a:pt x="28" y="51"/>
                  <a:pt x="32" y="53"/>
                </a:cubicBezTo>
                <a:cubicBezTo>
                  <a:pt x="32" y="54"/>
                  <a:pt x="33" y="56"/>
                  <a:pt x="35" y="55"/>
                </a:cubicBezTo>
                <a:cubicBezTo>
                  <a:pt x="35" y="55"/>
                  <a:pt x="35" y="54"/>
                  <a:pt x="35" y="54"/>
                </a:cubicBezTo>
                <a:close/>
                <a:moveTo>
                  <a:pt x="21" y="47"/>
                </a:moveTo>
                <a:cubicBezTo>
                  <a:pt x="20" y="48"/>
                  <a:pt x="19" y="49"/>
                  <a:pt x="18" y="51"/>
                </a:cubicBezTo>
                <a:cubicBezTo>
                  <a:pt x="22" y="55"/>
                  <a:pt x="27" y="57"/>
                  <a:pt x="30" y="61"/>
                </a:cubicBezTo>
                <a:cubicBezTo>
                  <a:pt x="32" y="59"/>
                  <a:pt x="29" y="57"/>
                  <a:pt x="27" y="55"/>
                </a:cubicBezTo>
                <a:cubicBezTo>
                  <a:pt x="25" y="53"/>
                  <a:pt x="20" y="51"/>
                  <a:pt x="21" y="49"/>
                </a:cubicBezTo>
                <a:cubicBezTo>
                  <a:pt x="25" y="52"/>
                  <a:pt x="28" y="54"/>
                  <a:pt x="32" y="58"/>
                </a:cubicBezTo>
                <a:cubicBezTo>
                  <a:pt x="32" y="58"/>
                  <a:pt x="33" y="58"/>
                  <a:pt x="32" y="57"/>
                </a:cubicBezTo>
                <a:cubicBezTo>
                  <a:pt x="29" y="53"/>
                  <a:pt x="26" y="49"/>
                  <a:pt x="21" y="47"/>
                </a:cubicBezTo>
                <a:close/>
                <a:moveTo>
                  <a:pt x="17" y="52"/>
                </a:moveTo>
                <a:cubicBezTo>
                  <a:pt x="18" y="57"/>
                  <a:pt x="25" y="59"/>
                  <a:pt x="28" y="63"/>
                </a:cubicBezTo>
                <a:cubicBezTo>
                  <a:pt x="28" y="62"/>
                  <a:pt x="29" y="62"/>
                  <a:pt x="29" y="62"/>
                </a:cubicBezTo>
                <a:cubicBezTo>
                  <a:pt x="24" y="59"/>
                  <a:pt x="21" y="53"/>
                  <a:pt x="17" y="52"/>
                </a:cubicBezTo>
                <a:close/>
                <a:moveTo>
                  <a:pt x="16" y="56"/>
                </a:moveTo>
                <a:cubicBezTo>
                  <a:pt x="17" y="58"/>
                  <a:pt x="19" y="59"/>
                  <a:pt x="21" y="61"/>
                </a:cubicBezTo>
                <a:cubicBezTo>
                  <a:pt x="22" y="62"/>
                  <a:pt x="24" y="66"/>
                  <a:pt x="27" y="65"/>
                </a:cubicBezTo>
                <a:cubicBezTo>
                  <a:pt x="27" y="64"/>
                  <a:pt x="27" y="64"/>
                  <a:pt x="27" y="64"/>
                </a:cubicBezTo>
                <a:cubicBezTo>
                  <a:pt x="22" y="62"/>
                  <a:pt x="21" y="57"/>
                  <a:pt x="16" y="56"/>
                </a:cubicBezTo>
                <a:close/>
              </a:path>
            </a:pathLst>
          </a:custGeom>
          <a:solidFill>
            <a:srgbClr val="64646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906E136-1B42-4246-A5C2-C0DE84BB5032}"/>
              </a:ext>
            </a:extLst>
          </p:cNvPr>
          <p:cNvSpPr/>
          <p:nvPr/>
        </p:nvSpPr>
        <p:spPr>
          <a:xfrm>
            <a:off x="7056906" y="5580971"/>
            <a:ext cx="45429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CC0000"/>
              </a:buClr>
              <a:buSzPct val="100000"/>
            </a:pPr>
            <a:r>
              <a:rPr lang="en-US" sz="1600" b="1">
                <a:solidFill>
                  <a:srgbClr val="646464"/>
                </a:solidFill>
                <a:cs typeface="Arial" panose="020B0604020202020204" pitchFamily="34" charset="0"/>
              </a:rPr>
              <a:t>Be a single system or data warehouse </a:t>
            </a:r>
            <a:r>
              <a:rPr lang="en-US" sz="1600">
                <a:solidFill>
                  <a:srgbClr val="000000"/>
                </a:solidFill>
                <a:cs typeface="Arial" panose="020B0604020202020204" pitchFamily="34" charset="0"/>
              </a:rPr>
              <a:t>that includes all of CVSH’s data </a:t>
            </a:r>
            <a:endParaRPr lang="en-US" sz="1600">
              <a:solidFill>
                <a:srgbClr val="3F3F3F"/>
              </a:solidFill>
              <a:cs typeface="Arial" panose="020B0604020202020204" pitchFamily="34" charset="0"/>
            </a:endParaRPr>
          </a:p>
        </p:txBody>
      </p:sp>
      <p:sp>
        <p:nvSpPr>
          <p:cNvPr id="22" name="Freeform 368">
            <a:extLst>
              <a:ext uri="{FF2B5EF4-FFF2-40B4-BE49-F238E27FC236}">
                <a16:creationId xmlns:a16="http://schemas.microsoft.com/office/drawing/2014/main" id="{54B49B3F-9CF8-4DC0-B917-62BA04632D97}"/>
              </a:ext>
            </a:extLst>
          </p:cNvPr>
          <p:cNvSpPr>
            <a:spLocks noEditPoints="1"/>
          </p:cNvSpPr>
          <p:nvPr/>
        </p:nvSpPr>
        <p:spPr bwMode="auto">
          <a:xfrm>
            <a:off x="680669" y="5662380"/>
            <a:ext cx="389418" cy="457200"/>
          </a:xfrm>
          <a:custGeom>
            <a:avLst/>
            <a:gdLst>
              <a:gd name="T0" fmla="*/ 65 w 79"/>
              <a:gd name="T1" fmla="*/ 29 h 93"/>
              <a:gd name="T2" fmla="*/ 35 w 79"/>
              <a:gd name="T3" fmla="*/ 93 h 93"/>
              <a:gd name="T4" fmla="*/ 0 w 79"/>
              <a:gd name="T5" fmla="*/ 62 h 93"/>
              <a:gd name="T6" fmla="*/ 15 w 79"/>
              <a:gd name="T7" fmla="*/ 40 h 93"/>
              <a:gd name="T8" fmla="*/ 40 w 79"/>
              <a:gd name="T9" fmla="*/ 43 h 93"/>
              <a:gd name="T10" fmla="*/ 79 w 79"/>
              <a:gd name="T11" fmla="*/ 6 h 93"/>
              <a:gd name="T12" fmla="*/ 56 w 79"/>
              <a:gd name="T13" fmla="*/ 22 h 93"/>
              <a:gd name="T14" fmla="*/ 38 w 79"/>
              <a:gd name="T15" fmla="*/ 54 h 93"/>
              <a:gd name="T16" fmla="*/ 17 w 79"/>
              <a:gd name="T17" fmla="*/ 43 h 93"/>
              <a:gd name="T18" fmla="*/ 18 w 79"/>
              <a:gd name="T19" fmla="*/ 58 h 93"/>
              <a:gd name="T20" fmla="*/ 39 w 79"/>
              <a:gd name="T21" fmla="*/ 74 h 93"/>
              <a:gd name="T22" fmla="*/ 69 w 79"/>
              <a:gd name="T23" fmla="*/ 3 h 93"/>
              <a:gd name="T24" fmla="*/ 36 w 79"/>
              <a:gd name="T25" fmla="*/ 50 h 93"/>
              <a:gd name="T26" fmla="*/ 7 w 79"/>
              <a:gd name="T27" fmla="*/ 54 h 93"/>
              <a:gd name="T28" fmla="*/ 7 w 79"/>
              <a:gd name="T29" fmla="*/ 54 h 93"/>
              <a:gd name="T30" fmla="*/ 8 w 79"/>
              <a:gd name="T31" fmla="*/ 56 h 93"/>
              <a:gd name="T32" fmla="*/ 7 w 79"/>
              <a:gd name="T33" fmla="*/ 64 h 93"/>
              <a:gd name="T34" fmla="*/ 12 w 79"/>
              <a:gd name="T35" fmla="*/ 56 h 93"/>
              <a:gd name="T36" fmla="*/ 12 w 79"/>
              <a:gd name="T37" fmla="*/ 68 h 93"/>
              <a:gd name="T38" fmla="*/ 18 w 79"/>
              <a:gd name="T39" fmla="*/ 61 h 93"/>
              <a:gd name="T40" fmla="*/ 14 w 79"/>
              <a:gd name="T41" fmla="*/ 58 h 93"/>
              <a:gd name="T42" fmla="*/ 12 w 79"/>
              <a:gd name="T43" fmla="*/ 69 h 93"/>
              <a:gd name="T44" fmla="*/ 15 w 79"/>
              <a:gd name="T45" fmla="*/ 75 h 93"/>
              <a:gd name="T46" fmla="*/ 19 w 79"/>
              <a:gd name="T47" fmla="*/ 65 h 93"/>
              <a:gd name="T48" fmla="*/ 18 w 79"/>
              <a:gd name="T49" fmla="*/ 78 h 93"/>
              <a:gd name="T50" fmla="*/ 22 w 79"/>
              <a:gd name="T51" fmla="*/ 69 h 93"/>
              <a:gd name="T52" fmla="*/ 19 w 79"/>
              <a:gd name="T53" fmla="*/ 81 h 93"/>
              <a:gd name="T54" fmla="*/ 24 w 79"/>
              <a:gd name="T55" fmla="*/ 71 h 93"/>
              <a:gd name="T56" fmla="*/ 22 w 79"/>
              <a:gd name="T57" fmla="*/ 85 h 93"/>
              <a:gd name="T58" fmla="*/ 22 w 79"/>
              <a:gd name="T59" fmla="*/ 85 h 93"/>
              <a:gd name="T60" fmla="*/ 35 w 79"/>
              <a:gd name="T61" fmla="*/ 78 h 93"/>
              <a:gd name="T62" fmla="*/ 36 w 79"/>
              <a:gd name="T63" fmla="*/ 77 h 93"/>
              <a:gd name="T64" fmla="*/ 26 w 79"/>
              <a:gd name="T65" fmla="*/ 90 h 93"/>
              <a:gd name="T66" fmla="*/ 32 w 79"/>
              <a:gd name="T67" fmla="*/ 77 h 93"/>
              <a:gd name="T68" fmla="*/ 34 w 79"/>
              <a:gd name="T69" fmla="*/ 80 h 93"/>
              <a:gd name="T70" fmla="*/ 34 w 79"/>
              <a:gd name="T71" fmla="*/ 80 h 93"/>
              <a:gd name="T72" fmla="*/ 33 w 79"/>
              <a:gd name="T73" fmla="*/ 83 h 93"/>
              <a:gd name="T74" fmla="*/ 33 w 79"/>
              <a:gd name="T75" fmla="*/ 90 h 93"/>
              <a:gd name="T76" fmla="*/ 33 w 79"/>
              <a:gd name="T77" fmla="*/ 9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9" h="93">
                <a:moveTo>
                  <a:pt x="79" y="6"/>
                </a:moveTo>
                <a:cubicBezTo>
                  <a:pt x="76" y="14"/>
                  <a:pt x="69" y="21"/>
                  <a:pt x="65" y="29"/>
                </a:cubicBezTo>
                <a:cubicBezTo>
                  <a:pt x="59" y="42"/>
                  <a:pt x="54" y="56"/>
                  <a:pt x="45" y="66"/>
                </a:cubicBezTo>
                <a:cubicBezTo>
                  <a:pt x="43" y="77"/>
                  <a:pt x="38" y="83"/>
                  <a:pt x="35" y="93"/>
                </a:cubicBezTo>
                <a:cubicBezTo>
                  <a:pt x="32" y="91"/>
                  <a:pt x="27" y="93"/>
                  <a:pt x="23" y="92"/>
                </a:cubicBezTo>
                <a:cubicBezTo>
                  <a:pt x="15" y="81"/>
                  <a:pt x="11" y="69"/>
                  <a:pt x="0" y="62"/>
                </a:cubicBezTo>
                <a:cubicBezTo>
                  <a:pt x="1" y="57"/>
                  <a:pt x="6" y="53"/>
                  <a:pt x="5" y="47"/>
                </a:cubicBezTo>
                <a:cubicBezTo>
                  <a:pt x="10" y="46"/>
                  <a:pt x="11" y="42"/>
                  <a:pt x="15" y="40"/>
                </a:cubicBezTo>
                <a:cubicBezTo>
                  <a:pt x="24" y="41"/>
                  <a:pt x="26" y="49"/>
                  <a:pt x="32" y="54"/>
                </a:cubicBezTo>
                <a:cubicBezTo>
                  <a:pt x="35" y="50"/>
                  <a:pt x="36" y="45"/>
                  <a:pt x="40" y="43"/>
                </a:cubicBezTo>
                <a:cubicBezTo>
                  <a:pt x="47" y="27"/>
                  <a:pt x="59" y="15"/>
                  <a:pt x="68" y="0"/>
                </a:cubicBezTo>
                <a:cubicBezTo>
                  <a:pt x="72" y="1"/>
                  <a:pt x="76" y="3"/>
                  <a:pt x="79" y="6"/>
                </a:cubicBezTo>
                <a:close/>
                <a:moveTo>
                  <a:pt x="69" y="3"/>
                </a:moveTo>
                <a:cubicBezTo>
                  <a:pt x="64" y="9"/>
                  <a:pt x="61" y="16"/>
                  <a:pt x="56" y="22"/>
                </a:cubicBezTo>
                <a:cubicBezTo>
                  <a:pt x="53" y="26"/>
                  <a:pt x="48" y="30"/>
                  <a:pt x="45" y="36"/>
                </a:cubicBezTo>
                <a:cubicBezTo>
                  <a:pt x="42" y="41"/>
                  <a:pt x="39" y="47"/>
                  <a:pt x="38" y="54"/>
                </a:cubicBezTo>
                <a:cubicBezTo>
                  <a:pt x="37" y="56"/>
                  <a:pt x="39" y="59"/>
                  <a:pt x="35" y="61"/>
                </a:cubicBezTo>
                <a:cubicBezTo>
                  <a:pt x="30" y="59"/>
                  <a:pt x="24" y="42"/>
                  <a:pt x="17" y="43"/>
                </a:cubicBezTo>
                <a:cubicBezTo>
                  <a:pt x="14" y="43"/>
                  <a:pt x="10" y="46"/>
                  <a:pt x="10" y="49"/>
                </a:cubicBezTo>
                <a:cubicBezTo>
                  <a:pt x="10" y="51"/>
                  <a:pt x="16" y="56"/>
                  <a:pt x="18" y="58"/>
                </a:cubicBezTo>
                <a:cubicBezTo>
                  <a:pt x="22" y="63"/>
                  <a:pt x="26" y="74"/>
                  <a:pt x="31" y="75"/>
                </a:cubicBezTo>
                <a:cubicBezTo>
                  <a:pt x="33" y="75"/>
                  <a:pt x="37" y="73"/>
                  <a:pt x="39" y="74"/>
                </a:cubicBezTo>
                <a:cubicBezTo>
                  <a:pt x="52" y="52"/>
                  <a:pt x="63" y="29"/>
                  <a:pt x="75" y="7"/>
                </a:cubicBezTo>
                <a:cubicBezTo>
                  <a:pt x="74" y="5"/>
                  <a:pt x="72" y="3"/>
                  <a:pt x="69" y="3"/>
                </a:cubicBezTo>
                <a:close/>
                <a:moveTo>
                  <a:pt x="35" y="56"/>
                </a:moveTo>
                <a:cubicBezTo>
                  <a:pt x="36" y="55"/>
                  <a:pt x="37" y="51"/>
                  <a:pt x="36" y="50"/>
                </a:cubicBezTo>
                <a:cubicBezTo>
                  <a:pt x="36" y="51"/>
                  <a:pt x="33" y="55"/>
                  <a:pt x="35" y="56"/>
                </a:cubicBezTo>
                <a:close/>
                <a:moveTo>
                  <a:pt x="7" y="54"/>
                </a:moveTo>
                <a:cubicBezTo>
                  <a:pt x="7" y="53"/>
                  <a:pt x="9" y="53"/>
                  <a:pt x="9" y="52"/>
                </a:cubicBezTo>
                <a:cubicBezTo>
                  <a:pt x="7" y="52"/>
                  <a:pt x="6" y="54"/>
                  <a:pt x="7" y="54"/>
                </a:cubicBezTo>
                <a:close/>
                <a:moveTo>
                  <a:pt x="5" y="63"/>
                </a:moveTo>
                <a:cubicBezTo>
                  <a:pt x="7" y="62"/>
                  <a:pt x="9" y="57"/>
                  <a:pt x="8" y="56"/>
                </a:cubicBezTo>
                <a:cubicBezTo>
                  <a:pt x="7" y="58"/>
                  <a:pt x="3" y="60"/>
                  <a:pt x="5" y="63"/>
                </a:cubicBezTo>
                <a:close/>
                <a:moveTo>
                  <a:pt x="7" y="64"/>
                </a:moveTo>
                <a:cubicBezTo>
                  <a:pt x="10" y="63"/>
                  <a:pt x="12" y="59"/>
                  <a:pt x="13" y="56"/>
                </a:cubicBezTo>
                <a:cubicBezTo>
                  <a:pt x="12" y="56"/>
                  <a:pt x="12" y="56"/>
                  <a:pt x="12" y="56"/>
                </a:cubicBezTo>
                <a:cubicBezTo>
                  <a:pt x="10" y="59"/>
                  <a:pt x="9" y="61"/>
                  <a:pt x="7" y="64"/>
                </a:cubicBezTo>
                <a:close/>
                <a:moveTo>
                  <a:pt x="12" y="68"/>
                </a:moveTo>
                <a:cubicBezTo>
                  <a:pt x="12" y="69"/>
                  <a:pt x="12" y="70"/>
                  <a:pt x="12" y="71"/>
                </a:cubicBezTo>
                <a:cubicBezTo>
                  <a:pt x="16" y="69"/>
                  <a:pt x="19" y="65"/>
                  <a:pt x="18" y="61"/>
                </a:cubicBezTo>
                <a:cubicBezTo>
                  <a:pt x="15" y="62"/>
                  <a:pt x="15" y="66"/>
                  <a:pt x="12" y="68"/>
                </a:cubicBezTo>
                <a:cubicBezTo>
                  <a:pt x="12" y="64"/>
                  <a:pt x="18" y="61"/>
                  <a:pt x="14" y="58"/>
                </a:cubicBezTo>
                <a:cubicBezTo>
                  <a:pt x="13" y="61"/>
                  <a:pt x="10" y="63"/>
                  <a:pt x="9" y="66"/>
                </a:cubicBezTo>
                <a:cubicBezTo>
                  <a:pt x="10" y="67"/>
                  <a:pt x="10" y="68"/>
                  <a:pt x="12" y="69"/>
                </a:cubicBezTo>
                <a:cubicBezTo>
                  <a:pt x="11" y="68"/>
                  <a:pt x="12" y="68"/>
                  <a:pt x="12" y="68"/>
                </a:cubicBezTo>
                <a:close/>
                <a:moveTo>
                  <a:pt x="15" y="75"/>
                </a:moveTo>
                <a:cubicBezTo>
                  <a:pt x="18" y="72"/>
                  <a:pt x="21" y="69"/>
                  <a:pt x="20" y="65"/>
                </a:cubicBezTo>
                <a:cubicBezTo>
                  <a:pt x="20" y="65"/>
                  <a:pt x="20" y="65"/>
                  <a:pt x="19" y="65"/>
                </a:cubicBezTo>
                <a:cubicBezTo>
                  <a:pt x="18" y="68"/>
                  <a:pt x="13" y="70"/>
                  <a:pt x="15" y="75"/>
                </a:cubicBezTo>
                <a:close/>
                <a:moveTo>
                  <a:pt x="18" y="78"/>
                </a:moveTo>
                <a:cubicBezTo>
                  <a:pt x="19" y="75"/>
                  <a:pt x="22" y="73"/>
                  <a:pt x="23" y="69"/>
                </a:cubicBezTo>
                <a:cubicBezTo>
                  <a:pt x="23" y="69"/>
                  <a:pt x="23" y="68"/>
                  <a:pt x="22" y="69"/>
                </a:cubicBezTo>
                <a:cubicBezTo>
                  <a:pt x="20" y="71"/>
                  <a:pt x="15" y="74"/>
                  <a:pt x="18" y="78"/>
                </a:cubicBezTo>
                <a:close/>
                <a:moveTo>
                  <a:pt x="19" y="81"/>
                </a:moveTo>
                <a:cubicBezTo>
                  <a:pt x="22" y="79"/>
                  <a:pt x="24" y="76"/>
                  <a:pt x="25" y="73"/>
                </a:cubicBezTo>
                <a:cubicBezTo>
                  <a:pt x="24" y="73"/>
                  <a:pt x="25" y="71"/>
                  <a:pt x="24" y="71"/>
                </a:cubicBezTo>
                <a:cubicBezTo>
                  <a:pt x="23" y="75"/>
                  <a:pt x="18" y="77"/>
                  <a:pt x="19" y="81"/>
                </a:cubicBezTo>
                <a:close/>
                <a:moveTo>
                  <a:pt x="22" y="85"/>
                </a:moveTo>
                <a:cubicBezTo>
                  <a:pt x="23" y="82"/>
                  <a:pt x="27" y="79"/>
                  <a:pt x="26" y="75"/>
                </a:cubicBezTo>
                <a:cubicBezTo>
                  <a:pt x="25" y="78"/>
                  <a:pt x="19" y="81"/>
                  <a:pt x="22" y="85"/>
                </a:cubicBezTo>
                <a:close/>
                <a:moveTo>
                  <a:pt x="35" y="78"/>
                </a:moveTo>
                <a:cubicBezTo>
                  <a:pt x="35" y="79"/>
                  <a:pt x="35" y="79"/>
                  <a:pt x="35" y="78"/>
                </a:cubicBezTo>
                <a:cubicBezTo>
                  <a:pt x="36" y="78"/>
                  <a:pt x="36" y="78"/>
                  <a:pt x="36" y="78"/>
                </a:cubicBezTo>
                <a:cubicBezTo>
                  <a:pt x="36" y="78"/>
                  <a:pt x="37" y="77"/>
                  <a:pt x="36" y="77"/>
                </a:cubicBezTo>
                <a:cubicBezTo>
                  <a:pt x="36" y="77"/>
                  <a:pt x="35" y="78"/>
                  <a:pt x="35" y="78"/>
                </a:cubicBezTo>
                <a:close/>
                <a:moveTo>
                  <a:pt x="26" y="90"/>
                </a:moveTo>
                <a:cubicBezTo>
                  <a:pt x="31" y="89"/>
                  <a:pt x="31" y="81"/>
                  <a:pt x="33" y="77"/>
                </a:cubicBezTo>
                <a:cubicBezTo>
                  <a:pt x="33" y="77"/>
                  <a:pt x="33" y="77"/>
                  <a:pt x="32" y="77"/>
                </a:cubicBezTo>
                <a:cubicBezTo>
                  <a:pt x="31" y="82"/>
                  <a:pt x="27" y="85"/>
                  <a:pt x="26" y="90"/>
                </a:cubicBezTo>
                <a:close/>
                <a:moveTo>
                  <a:pt x="34" y="80"/>
                </a:moveTo>
                <a:cubicBezTo>
                  <a:pt x="34" y="80"/>
                  <a:pt x="33" y="82"/>
                  <a:pt x="34" y="82"/>
                </a:cubicBezTo>
                <a:cubicBezTo>
                  <a:pt x="34" y="82"/>
                  <a:pt x="34" y="81"/>
                  <a:pt x="34" y="80"/>
                </a:cubicBezTo>
                <a:cubicBezTo>
                  <a:pt x="35" y="80"/>
                  <a:pt x="34" y="80"/>
                  <a:pt x="34" y="80"/>
                </a:cubicBezTo>
                <a:close/>
                <a:moveTo>
                  <a:pt x="33" y="83"/>
                </a:moveTo>
                <a:cubicBezTo>
                  <a:pt x="34" y="85"/>
                  <a:pt x="34" y="81"/>
                  <a:pt x="33" y="83"/>
                </a:cubicBezTo>
                <a:close/>
                <a:moveTo>
                  <a:pt x="33" y="90"/>
                </a:moveTo>
                <a:cubicBezTo>
                  <a:pt x="34" y="88"/>
                  <a:pt x="37" y="84"/>
                  <a:pt x="35" y="83"/>
                </a:cubicBezTo>
                <a:cubicBezTo>
                  <a:pt x="35" y="86"/>
                  <a:pt x="32" y="88"/>
                  <a:pt x="33" y="9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CC00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47CC1C0-A25F-4931-8FFA-8B340A0B620B}"/>
              </a:ext>
            </a:extLst>
          </p:cNvPr>
          <p:cNvSpPr/>
          <p:nvPr/>
        </p:nvSpPr>
        <p:spPr>
          <a:xfrm>
            <a:off x="1205728" y="5580971"/>
            <a:ext cx="4663440" cy="1077218"/>
          </a:xfrm>
          <a:prstGeom prst="rect">
            <a:avLst/>
          </a:prstGeom>
        </p:spPr>
        <p:txBody>
          <a:bodyPr wrap="square" lIns="91440">
            <a:spAutoFit/>
          </a:bodyPr>
          <a:lstStyle/>
          <a:p>
            <a:pPr>
              <a:buClr>
                <a:schemeClr val="accent2"/>
              </a:buClr>
              <a:buSzPct val="100000"/>
            </a:pPr>
            <a:r>
              <a:rPr lang="en-US" sz="1600" b="1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Be an ecosystem of tools and technologies</a:t>
            </a:r>
            <a:r>
              <a:rPr lang="en-US" sz="1600" b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hat provides CVSH data and the capabilities to use that data </a:t>
            </a:r>
            <a:endParaRPr lang="en-US" sz="1600" b="1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>
              <a:buClr>
                <a:schemeClr val="accent2"/>
              </a:buClr>
              <a:buSzPct val="100000"/>
            </a:pPr>
            <a:endParaRPr lang="en-US" sz="1600" b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648159D3-0F33-4C73-A1D1-35508BE91776}"/>
              </a:ext>
            </a:extLst>
          </p:cNvPr>
          <p:cNvSpPr txBox="1">
            <a:spLocks/>
          </p:cNvSpPr>
          <p:nvPr/>
        </p:nvSpPr>
        <p:spPr>
          <a:xfrm>
            <a:off x="4224274" y="1348665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973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reeform 38">
            <a:extLst>
              <a:ext uri="{FF2B5EF4-FFF2-40B4-BE49-F238E27FC236}">
                <a16:creationId xmlns:a16="http://schemas.microsoft.com/office/drawing/2014/main" id="{63BCAD70-D49D-456C-BB0A-26D3BEDAE740}"/>
              </a:ext>
            </a:extLst>
          </p:cNvPr>
          <p:cNvSpPr/>
          <p:nvPr/>
        </p:nvSpPr>
        <p:spPr>
          <a:xfrm rot="20905801">
            <a:off x="-504419" y="3715033"/>
            <a:ext cx="13196905" cy="788581"/>
          </a:xfrm>
          <a:custGeom>
            <a:avLst/>
            <a:gdLst>
              <a:gd name="connsiteX0" fmla="*/ 0 w 39117213"/>
              <a:gd name="connsiteY0" fmla="*/ 1365341 h 4318288"/>
              <a:gd name="connsiteX1" fmla="*/ 13208410 w 39117213"/>
              <a:gd name="connsiteY1" fmla="*/ 4096023 h 4318288"/>
              <a:gd name="connsiteX2" fmla="*/ 26353317 w 39117213"/>
              <a:gd name="connsiteY2" fmla="*/ 31752 h 4318288"/>
              <a:gd name="connsiteX3" fmla="*/ 39117213 w 39117213"/>
              <a:gd name="connsiteY3" fmla="*/ 3905511 h 4318288"/>
              <a:gd name="connsiteX0" fmla="*/ 0 w 39117213"/>
              <a:gd name="connsiteY0" fmla="*/ 1501865 h 4280353"/>
              <a:gd name="connsiteX1" fmla="*/ 4397178 w 39117213"/>
              <a:gd name="connsiteY1" fmla="*/ 455114 h 4280353"/>
              <a:gd name="connsiteX2" fmla="*/ 13208410 w 39117213"/>
              <a:gd name="connsiteY2" fmla="*/ 4232547 h 4280353"/>
              <a:gd name="connsiteX3" fmla="*/ 26353317 w 39117213"/>
              <a:gd name="connsiteY3" fmla="*/ 168276 h 4280353"/>
              <a:gd name="connsiteX4" fmla="*/ 39117213 w 39117213"/>
              <a:gd name="connsiteY4" fmla="*/ 4042035 h 4280353"/>
              <a:gd name="connsiteX0" fmla="*/ 0 w 39117213"/>
              <a:gd name="connsiteY0" fmla="*/ 1501865 h 4280353"/>
              <a:gd name="connsiteX1" fmla="*/ 4397178 w 39117213"/>
              <a:gd name="connsiteY1" fmla="*/ 455114 h 4280353"/>
              <a:gd name="connsiteX2" fmla="*/ 13208410 w 39117213"/>
              <a:gd name="connsiteY2" fmla="*/ 4232547 h 4280353"/>
              <a:gd name="connsiteX3" fmla="*/ 26353317 w 39117213"/>
              <a:gd name="connsiteY3" fmla="*/ 168276 h 4280353"/>
              <a:gd name="connsiteX4" fmla="*/ 39117213 w 39117213"/>
              <a:gd name="connsiteY4" fmla="*/ 4042035 h 4280353"/>
              <a:gd name="connsiteX0" fmla="*/ 0 w 39117213"/>
              <a:gd name="connsiteY0" fmla="*/ 1505041 h 4283529"/>
              <a:gd name="connsiteX1" fmla="*/ 4397178 w 39117213"/>
              <a:gd name="connsiteY1" fmla="*/ 458290 h 4283529"/>
              <a:gd name="connsiteX2" fmla="*/ 13208410 w 39117213"/>
              <a:gd name="connsiteY2" fmla="*/ 4235723 h 4283529"/>
              <a:gd name="connsiteX3" fmla="*/ 26353317 w 39117213"/>
              <a:gd name="connsiteY3" fmla="*/ 171452 h 4283529"/>
              <a:gd name="connsiteX4" fmla="*/ 39117213 w 39117213"/>
              <a:gd name="connsiteY4" fmla="*/ 3207011 h 4283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17213" h="4283529">
                <a:moveTo>
                  <a:pt x="0" y="1505041"/>
                </a:moveTo>
                <a:cubicBezTo>
                  <a:pt x="62630" y="1533782"/>
                  <a:pt x="2195776" y="3176"/>
                  <a:pt x="4397178" y="458290"/>
                </a:cubicBezTo>
                <a:cubicBezTo>
                  <a:pt x="6598580" y="913404"/>
                  <a:pt x="9549054" y="4283529"/>
                  <a:pt x="13208410" y="4235723"/>
                </a:cubicBezTo>
                <a:cubicBezTo>
                  <a:pt x="19132962" y="4151076"/>
                  <a:pt x="22035183" y="342904"/>
                  <a:pt x="26353317" y="171452"/>
                </a:cubicBezTo>
                <a:cubicBezTo>
                  <a:pt x="30671451" y="0"/>
                  <a:pt x="39117213" y="3207011"/>
                  <a:pt x="39117213" y="3207011"/>
                </a:cubicBezTo>
              </a:path>
            </a:pathLst>
          </a:custGeom>
          <a:solidFill>
            <a:schemeClr val="accent3"/>
          </a:solidFill>
          <a:ln w="984250" cap="flat" cmpd="sng" algn="ctr">
            <a:gradFill flip="none" rotWithShape="1">
              <a:gsLst>
                <a:gs pos="10000">
                  <a:schemeClr val="accent4">
                    <a:lumMod val="98000"/>
                    <a:lumOff val="2000"/>
                    <a:alpha val="98000"/>
                  </a:schemeClr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triangle" w="sm" len="sm"/>
          </a:ln>
          <a:effectLst>
            <a:outerShdw blurRad="4000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69780">
              <a:defRPr/>
            </a:pPr>
            <a:endParaRPr lang="en-US" sz="1928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2AB5D4-DDE2-4EA2-BCC9-AA99657F1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VS Health's Evolution to the Data Platform 2.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8326C2-9D23-45D6-A898-95035D38F25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741260"/>
            <a:ext cx="9687861" cy="422275"/>
          </a:xfrm>
        </p:spPr>
        <p:txBody>
          <a:bodyPr/>
          <a:lstStyle/>
          <a:p>
            <a:r>
              <a:rPr lang="en-US" sz="1800"/>
              <a:t>From data warehouses to an enterprise data platform produ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A0D952-0CD7-44BA-B524-40D755E447E7}"/>
              </a:ext>
            </a:extLst>
          </p:cNvPr>
          <p:cNvSpPr txBox="1"/>
          <p:nvPr/>
        </p:nvSpPr>
        <p:spPr>
          <a:xfrm>
            <a:off x="237557" y="2396465"/>
            <a:ext cx="216497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u="sng">
                <a:solidFill>
                  <a:schemeClr val="tx2"/>
                </a:solidFill>
              </a:rPr>
              <a:t>2000 – Data Warehouse</a:t>
            </a:r>
            <a:endParaRPr lang="en-US" sz="140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entralized collections of enterpris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Data integrated across subject areas by B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Expanding analyt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0884DA-A8CC-444C-85E4-E05DAFC02ECB}"/>
              </a:ext>
            </a:extLst>
          </p:cNvPr>
          <p:cNvSpPr txBox="1"/>
          <p:nvPr/>
        </p:nvSpPr>
        <p:spPr>
          <a:xfrm>
            <a:off x="2645374" y="5581754"/>
            <a:ext cx="2751103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u="sng">
                <a:solidFill>
                  <a:schemeClr val="tx2"/>
                </a:solidFill>
              </a:rPr>
              <a:t>2014 – 2016 Move to Bi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Data Science environment on Hado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Self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No metadata, no governa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6BD7E9-DEAC-4653-92CB-4E106738319D}"/>
              </a:ext>
            </a:extLst>
          </p:cNvPr>
          <p:cNvSpPr txBox="1"/>
          <p:nvPr/>
        </p:nvSpPr>
        <p:spPr>
          <a:xfrm>
            <a:off x="3697561" y="2313781"/>
            <a:ext cx="2206518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u="sng">
                <a:solidFill>
                  <a:schemeClr val="tx2"/>
                </a:solidFill>
              </a:rPr>
              <a:t>2016-2017 – Unified Data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Multiple technology to capture and deliver Data to consu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mbines Technology and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FDF99C-A0A1-4D4E-A73D-11895B6FD574}"/>
              </a:ext>
            </a:extLst>
          </p:cNvPr>
          <p:cNvSpPr txBox="1"/>
          <p:nvPr/>
        </p:nvSpPr>
        <p:spPr>
          <a:xfrm>
            <a:off x="6795523" y="4476129"/>
            <a:ext cx="3294408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u="sng">
                <a:solidFill>
                  <a:schemeClr val="tx2"/>
                </a:solidFill>
              </a:rPr>
              <a:t>2017-2019  UDP/UDF/AF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UDP – Technology and loca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UDF – Shared data (single version of trut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UDF Capabilities: Data ingestion, data pipeline, data delivery, Data Governance, Security &amp; Compli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AF – Data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nsolidation of LOB Data Lake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C9CF08-C5B8-452B-B770-BB2222E7D4F2}"/>
              </a:ext>
            </a:extLst>
          </p:cNvPr>
          <p:cNvSpPr txBox="1"/>
          <p:nvPr/>
        </p:nvSpPr>
        <p:spPr>
          <a:xfrm>
            <a:off x="2828417" y="4677871"/>
            <a:ext cx="125175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Aetna Data Platfor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A0028CF-F97E-47FE-A093-1958FB3A6386}"/>
              </a:ext>
            </a:extLst>
          </p:cNvPr>
          <p:cNvSpPr txBox="1"/>
          <p:nvPr/>
        </p:nvSpPr>
        <p:spPr>
          <a:xfrm>
            <a:off x="437214" y="4476129"/>
            <a:ext cx="112778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Aetna EDWs</a:t>
            </a:r>
          </a:p>
          <a:p>
            <a:pPr algn="ctr"/>
            <a:r>
              <a:rPr lang="en-US" sz="1400">
                <a:solidFill>
                  <a:schemeClr val="bg1"/>
                </a:solidFill>
              </a:rPr>
              <a:t>PBM EDWs</a:t>
            </a:r>
          </a:p>
          <a:p>
            <a:pPr algn="ctr"/>
            <a:r>
              <a:rPr lang="en-US" sz="1400">
                <a:solidFill>
                  <a:schemeClr val="bg1"/>
                </a:solidFill>
              </a:rPr>
              <a:t>Retail EDW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9DF9C1A-CDD7-4E34-9CA0-3ADD87352435}"/>
              </a:ext>
            </a:extLst>
          </p:cNvPr>
          <p:cNvSpPr txBox="1"/>
          <p:nvPr/>
        </p:nvSpPr>
        <p:spPr>
          <a:xfrm>
            <a:off x="4635761" y="4450257"/>
            <a:ext cx="13593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Unified Data Platform</a:t>
            </a:r>
          </a:p>
        </p:txBody>
      </p:sp>
      <p:sp>
        <p:nvSpPr>
          <p:cNvPr id="55" name="Freeform 8">
            <a:extLst>
              <a:ext uri="{FF2B5EF4-FFF2-40B4-BE49-F238E27FC236}">
                <a16:creationId xmlns:a16="http://schemas.microsoft.com/office/drawing/2014/main" id="{3CF9C8AE-6C8F-433C-80AE-801875251424}"/>
              </a:ext>
            </a:extLst>
          </p:cNvPr>
          <p:cNvSpPr>
            <a:spLocks/>
          </p:cNvSpPr>
          <p:nvPr/>
        </p:nvSpPr>
        <p:spPr bwMode="auto">
          <a:xfrm>
            <a:off x="9848878" y="2944698"/>
            <a:ext cx="753554" cy="477640"/>
          </a:xfrm>
          <a:custGeom>
            <a:avLst/>
            <a:gdLst/>
            <a:ahLst/>
            <a:cxnLst>
              <a:cxn ang="0">
                <a:pos x="233" y="100"/>
              </a:cxn>
              <a:cxn ang="0">
                <a:pos x="213" y="142"/>
              </a:cxn>
              <a:cxn ang="0">
                <a:pos x="13" y="142"/>
              </a:cxn>
              <a:cxn ang="0">
                <a:pos x="0" y="110"/>
              </a:cxn>
              <a:cxn ang="0">
                <a:pos x="35" y="67"/>
              </a:cxn>
              <a:cxn ang="0">
                <a:pos x="34" y="62"/>
              </a:cxn>
              <a:cxn ang="0">
                <a:pos x="56" y="40"/>
              </a:cxn>
              <a:cxn ang="0">
                <a:pos x="65" y="42"/>
              </a:cxn>
              <a:cxn ang="0">
                <a:pos x="124" y="0"/>
              </a:cxn>
              <a:cxn ang="0">
                <a:pos x="178" y="32"/>
              </a:cxn>
              <a:cxn ang="0">
                <a:pos x="178" y="32"/>
              </a:cxn>
              <a:cxn ang="0">
                <a:pos x="121" y="64"/>
              </a:cxn>
              <a:cxn ang="0">
                <a:pos x="104" y="60"/>
              </a:cxn>
              <a:cxn ang="0">
                <a:pos x="69" y="83"/>
              </a:cxn>
              <a:cxn ang="0">
                <a:pos x="72" y="91"/>
              </a:cxn>
              <a:cxn ang="0">
                <a:pos x="82" y="88"/>
              </a:cxn>
              <a:cxn ang="0">
                <a:pos x="104" y="72"/>
              </a:cxn>
              <a:cxn ang="0">
                <a:pos x="127" y="89"/>
              </a:cxn>
              <a:cxn ang="0">
                <a:pos x="133" y="93"/>
              </a:cxn>
              <a:cxn ang="0">
                <a:pos x="135" y="93"/>
              </a:cxn>
              <a:cxn ang="0">
                <a:pos x="139" y="85"/>
              </a:cxn>
              <a:cxn ang="0">
                <a:pos x="131" y="71"/>
              </a:cxn>
              <a:cxn ang="0">
                <a:pos x="178" y="45"/>
              </a:cxn>
              <a:cxn ang="0">
                <a:pos x="183" y="45"/>
              </a:cxn>
              <a:cxn ang="0">
                <a:pos x="233" y="100"/>
              </a:cxn>
            </a:cxnLst>
            <a:rect l="0" t="0" r="r" b="b"/>
            <a:pathLst>
              <a:path w="233" h="142">
                <a:moveTo>
                  <a:pt x="233" y="100"/>
                </a:moveTo>
                <a:cubicBezTo>
                  <a:pt x="233" y="117"/>
                  <a:pt x="225" y="132"/>
                  <a:pt x="213" y="142"/>
                </a:cubicBezTo>
                <a:cubicBezTo>
                  <a:pt x="13" y="142"/>
                  <a:pt x="13" y="142"/>
                  <a:pt x="13" y="142"/>
                </a:cubicBezTo>
                <a:cubicBezTo>
                  <a:pt x="5" y="134"/>
                  <a:pt x="0" y="123"/>
                  <a:pt x="0" y="110"/>
                </a:cubicBezTo>
                <a:cubicBezTo>
                  <a:pt x="0" y="89"/>
                  <a:pt x="15" y="72"/>
                  <a:pt x="35" y="67"/>
                </a:cubicBezTo>
                <a:cubicBezTo>
                  <a:pt x="34" y="66"/>
                  <a:pt x="34" y="64"/>
                  <a:pt x="34" y="62"/>
                </a:cubicBezTo>
                <a:cubicBezTo>
                  <a:pt x="34" y="50"/>
                  <a:pt x="44" y="40"/>
                  <a:pt x="56" y="40"/>
                </a:cubicBezTo>
                <a:cubicBezTo>
                  <a:pt x="59" y="40"/>
                  <a:pt x="62" y="41"/>
                  <a:pt x="65" y="42"/>
                </a:cubicBezTo>
                <a:cubicBezTo>
                  <a:pt x="74" y="18"/>
                  <a:pt x="97" y="0"/>
                  <a:pt x="124" y="0"/>
                </a:cubicBezTo>
                <a:cubicBezTo>
                  <a:pt x="147" y="0"/>
                  <a:pt x="168" y="13"/>
                  <a:pt x="178" y="32"/>
                </a:cubicBezTo>
                <a:cubicBezTo>
                  <a:pt x="178" y="32"/>
                  <a:pt x="178" y="32"/>
                  <a:pt x="178" y="32"/>
                </a:cubicBezTo>
                <a:cubicBezTo>
                  <a:pt x="155" y="32"/>
                  <a:pt x="133" y="44"/>
                  <a:pt x="121" y="64"/>
                </a:cubicBezTo>
                <a:cubicBezTo>
                  <a:pt x="116" y="61"/>
                  <a:pt x="110" y="60"/>
                  <a:pt x="104" y="60"/>
                </a:cubicBezTo>
                <a:cubicBezTo>
                  <a:pt x="89" y="60"/>
                  <a:pt x="75" y="69"/>
                  <a:pt x="69" y="83"/>
                </a:cubicBezTo>
                <a:cubicBezTo>
                  <a:pt x="67" y="86"/>
                  <a:pt x="69" y="90"/>
                  <a:pt x="72" y="91"/>
                </a:cubicBezTo>
                <a:cubicBezTo>
                  <a:pt x="77" y="93"/>
                  <a:pt x="80" y="91"/>
                  <a:pt x="82" y="88"/>
                </a:cubicBezTo>
                <a:cubicBezTo>
                  <a:pt x="85" y="78"/>
                  <a:pt x="94" y="72"/>
                  <a:pt x="104" y="72"/>
                </a:cubicBezTo>
                <a:cubicBezTo>
                  <a:pt x="115" y="72"/>
                  <a:pt x="124" y="79"/>
                  <a:pt x="127" y="89"/>
                </a:cubicBezTo>
                <a:cubicBezTo>
                  <a:pt x="128" y="91"/>
                  <a:pt x="131" y="93"/>
                  <a:pt x="133" y="93"/>
                </a:cubicBezTo>
                <a:cubicBezTo>
                  <a:pt x="134" y="93"/>
                  <a:pt x="135" y="93"/>
                  <a:pt x="135" y="93"/>
                </a:cubicBezTo>
                <a:cubicBezTo>
                  <a:pt x="139" y="92"/>
                  <a:pt x="140" y="88"/>
                  <a:pt x="139" y="85"/>
                </a:cubicBezTo>
                <a:cubicBezTo>
                  <a:pt x="138" y="80"/>
                  <a:pt x="135" y="75"/>
                  <a:pt x="131" y="71"/>
                </a:cubicBezTo>
                <a:cubicBezTo>
                  <a:pt x="141" y="55"/>
                  <a:pt x="159" y="45"/>
                  <a:pt x="178" y="45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211" y="48"/>
                  <a:pt x="233" y="71"/>
                  <a:pt x="233" y="1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22821ED-F53A-450A-95D6-1EB3A22C95BA}"/>
              </a:ext>
            </a:extLst>
          </p:cNvPr>
          <p:cNvSpPr txBox="1"/>
          <p:nvPr/>
        </p:nvSpPr>
        <p:spPr>
          <a:xfrm>
            <a:off x="9635041" y="2698365"/>
            <a:ext cx="14746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Data Platform 2.0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1437333-ADDE-435C-84DA-9BA0BB28E36D}"/>
              </a:ext>
            </a:extLst>
          </p:cNvPr>
          <p:cNvSpPr txBox="1"/>
          <p:nvPr/>
        </p:nvSpPr>
        <p:spPr>
          <a:xfrm>
            <a:off x="6805741" y="3254621"/>
            <a:ext cx="201753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Unified Data Platform  Unified Data Fabric </a:t>
            </a:r>
          </a:p>
          <a:p>
            <a:r>
              <a:rPr lang="en-US" sz="1400">
                <a:solidFill>
                  <a:schemeClr val="bg1"/>
                </a:solidFill>
              </a:rPr>
              <a:t>Analytics Fabric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54C3479-B068-48E5-ADA9-1376C05EE42D}"/>
              </a:ext>
            </a:extLst>
          </p:cNvPr>
          <p:cNvSpPr txBox="1"/>
          <p:nvPr/>
        </p:nvSpPr>
        <p:spPr>
          <a:xfrm>
            <a:off x="7462325" y="682638"/>
            <a:ext cx="3285416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u="sng">
                <a:solidFill>
                  <a:schemeClr val="tx2"/>
                </a:solidFill>
              </a:rPr>
              <a:t>2021 and beyond  – Data Platform 2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Data Catalog containing </a:t>
            </a:r>
          </a:p>
          <a:p>
            <a:r>
              <a:rPr lang="en-US" sz="1400">
                <a:solidFill>
                  <a:schemeClr val="tx2"/>
                </a:solidFill>
              </a:rPr>
              <a:t>managed and descriptive data inven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Common data ingest processes across technology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Hybrid Cloud with scalability based on business consumption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tx2"/>
                </a:solidFill>
              </a:rPr>
              <a:t>HiTrust</a:t>
            </a:r>
            <a:r>
              <a:rPr lang="en-US" sz="1400">
                <a:solidFill>
                  <a:schemeClr val="tx2"/>
                </a:solidFill>
              </a:rPr>
              <a:t> to support multi-zones and Payor agnostic.</a:t>
            </a:r>
          </a:p>
        </p:txBody>
      </p:sp>
      <p:sp>
        <p:nvSpPr>
          <p:cNvPr id="70" name="Freeform 8">
            <a:extLst>
              <a:ext uri="{FF2B5EF4-FFF2-40B4-BE49-F238E27FC236}">
                <a16:creationId xmlns:a16="http://schemas.microsoft.com/office/drawing/2014/main" id="{50F92FA7-4EFB-4339-B8D8-60C6AD53DB7D}"/>
              </a:ext>
            </a:extLst>
          </p:cNvPr>
          <p:cNvSpPr>
            <a:spLocks/>
          </p:cNvSpPr>
          <p:nvPr/>
        </p:nvSpPr>
        <p:spPr bwMode="auto">
          <a:xfrm>
            <a:off x="10399081" y="2981419"/>
            <a:ext cx="753554" cy="477640"/>
          </a:xfrm>
          <a:custGeom>
            <a:avLst/>
            <a:gdLst/>
            <a:ahLst/>
            <a:cxnLst>
              <a:cxn ang="0">
                <a:pos x="233" y="100"/>
              </a:cxn>
              <a:cxn ang="0">
                <a:pos x="213" y="142"/>
              </a:cxn>
              <a:cxn ang="0">
                <a:pos x="13" y="142"/>
              </a:cxn>
              <a:cxn ang="0">
                <a:pos x="0" y="110"/>
              </a:cxn>
              <a:cxn ang="0">
                <a:pos x="35" y="67"/>
              </a:cxn>
              <a:cxn ang="0">
                <a:pos x="34" y="62"/>
              </a:cxn>
              <a:cxn ang="0">
                <a:pos x="56" y="40"/>
              </a:cxn>
              <a:cxn ang="0">
                <a:pos x="65" y="42"/>
              </a:cxn>
              <a:cxn ang="0">
                <a:pos x="124" y="0"/>
              </a:cxn>
              <a:cxn ang="0">
                <a:pos x="178" y="32"/>
              </a:cxn>
              <a:cxn ang="0">
                <a:pos x="178" y="32"/>
              </a:cxn>
              <a:cxn ang="0">
                <a:pos x="121" y="64"/>
              </a:cxn>
              <a:cxn ang="0">
                <a:pos x="104" y="60"/>
              </a:cxn>
              <a:cxn ang="0">
                <a:pos x="69" y="83"/>
              </a:cxn>
              <a:cxn ang="0">
                <a:pos x="72" y="91"/>
              </a:cxn>
              <a:cxn ang="0">
                <a:pos x="82" y="88"/>
              </a:cxn>
              <a:cxn ang="0">
                <a:pos x="104" y="72"/>
              </a:cxn>
              <a:cxn ang="0">
                <a:pos x="127" y="89"/>
              </a:cxn>
              <a:cxn ang="0">
                <a:pos x="133" y="93"/>
              </a:cxn>
              <a:cxn ang="0">
                <a:pos x="135" y="93"/>
              </a:cxn>
              <a:cxn ang="0">
                <a:pos x="139" y="85"/>
              </a:cxn>
              <a:cxn ang="0">
                <a:pos x="131" y="71"/>
              </a:cxn>
              <a:cxn ang="0">
                <a:pos x="178" y="45"/>
              </a:cxn>
              <a:cxn ang="0">
                <a:pos x="183" y="45"/>
              </a:cxn>
              <a:cxn ang="0">
                <a:pos x="233" y="100"/>
              </a:cxn>
            </a:cxnLst>
            <a:rect l="0" t="0" r="r" b="b"/>
            <a:pathLst>
              <a:path w="233" h="142">
                <a:moveTo>
                  <a:pt x="233" y="100"/>
                </a:moveTo>
                <a:cubicBezTo>
                  <a:pt x="233" y="117"/>
                  <a:pt x="225" y="132"/>
                  <a:pt x="213" y="142"/>
                </a:cubicBezTo>
                <a:cubicBezTo>
                  <a:pt x="13" y="142"/>
                  <a:pt x="13" y="142"/>
                  <a:pt x="13" y="142"/>
                </a:cubicBezTo>
                <a:cubicBezTo>
                  <a:pt x="5" y="134"/>
                  <a:pt x="0" y="123"/>
                  <a:pt x="0" y="110"/>
                </a:cubicBezTo>
                <a:cubicBezTo>
                  <a:pt x="0" y="89"/>
                  <a:pt x="15" y="72"/>
                  <a:pt x="35" y="67"/>
                </a:cubicBezTo>
                <a:cubicBezTo>
                  <a:pt x="34" y="66"/>
                  <a:pt x="34" y="64"/>
                  <a:pt x="34" y="62"/>
                </a:cubicBezTo>
                <a:cubicBezTo>
                  <a:pt x="34" y="50"/>
                  <a:pt x="44" y="40"/>
                  <a:pt x="56" y="40"/>
                </a:cubicBezTo>
                <a:cubicBezTo>
                  <a:pt x="59" y="40"/>
                  <a:pt x="62" y="41"/>
                  <a:pt x="65" y="42"/>
                </a:cubicBezTo>
                <a:cubicBezTo>
                  <a:pt x="74" y="18"/>
                  <a:pt x="97" y="0"/>
                  <a:pt x="124" y="0"/>
                </a:cubicBezTo>
                <a:cubicBezTo>
                  <a:pt x="147" y="0"/>
                  <a:pt x="168" y="13"/>
                  <a:pt x="178" y="32"/>
                </a:cubicBezTo>
                <a:cubicBezTo>
                  <a:pt x="178" y="32"/>
                  <a:pt x="178" y="32"/>
                  <a:pt x="178" y="32"/>
                </a:cubicBezTo>
                <a:cubicBezTo>
                  <a:pt x="155" y="32"/>
                  <a:pt x="133" y="44"/>
                  <a:pt x="121" y="64"/>
                </a:cubicBezTo>
                <a:cubicBezTo>
                  <a:pt x="116" y="61"/>
                  <a:pt x="110" y="60"/>
                  <a:pt x="104" y="60"/>
                </a:cubicBezTo>
                <a:cubicBezTo>
                  <a:pt x="89" y="60"/>
                  <a:pt x="75" y="69"/>
                  <a:pt x="69" y="83"/>
                </a:cubicBezTo>
                <a:cubicBezTo>
                  <a:pt x="67" y="86"/>
                  <a:pt x="69" y="90"/>
                  <a:pt x="72" y="91"/>
                </a:cubicBezTo>
                <a:cubicBezTo>
                  <a:pt x="77" y="93"/>
                  <a:pt x="80" y="91"/>
                  <a:pt x="82" y="88"/>
                </a:cubicBezTo>
                <a:cubicBezTo>
                  <a:pt x="85" y="78"/>
                  <a:pt x="94" y="72"/>
                  <a:pt x="104" y="72"/>
                </a:cubicBezTo>
                <a:cubicBezTo>
                  <a:pt x="115" y="72"/>
                  <a:pt x="124" y="79"/>
                  <a:pt x="127" y="89"/>
                </a:cubicBezTo>
                <a:cubicBezTo>
                  <a:pt x="128" y="91"/>
                  <a:pt x="131" y="93"/>
                  <a:pt x="133" y="93"/>
                </a:cubicBezTo>
                <a:cubicBezTo>
                  <a:pt x="134" y="93"/>
                  <a:pt x="135" y="93"/>
                  <a:pt x="135" y="93"/>
                </a:cubicBezTo>
                <a:cubicBezTo>
                  <a:pt x="139" y="92"/>
                  <a:pt x="140" y="88"/>
                  <a:pt x="139" y="85"/>
                </a:cubicBezTo>
                <a:cubicBezTo>
                  <a:pt x="138" y="80"/>
                  <a:pt x="135" y="75"/>
                  <a:pt x="131" y="71"/>
                </a:cubicBezTo>
                <a:cubicBezTo>
                  <a:pt x="141" y="55"/>
                  <a:pt x="159" y="45"/>
                  <a:pt x="178" y="45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211" y="48"/>
                  <a:pt x="233" y="71"/>
                  <a:pt x="233" y="1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104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3F9EF36B-6800-4314-811B-1E56E5BA9C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6041363"/>
              </p:ext>
            </p:extLst>
          </p:nvPr>
        </p:nvGraphicFramePr>
        <p:xfrm>
          <a:off x="4196520" y="2122605"/>
          <a:ext cx="3971977" cy="2600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" name="think-cell Slide" r:id="rId10" imgW="498" imgH="499" progId="TCLayout.ActiveDocument.1">
                  <p:embed/>
                </p:oleObj>
              </mc:Choice>
              <mc:Fallback>
                <p:oleObj name="think-cell Slide" r:id="rId10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5E3D5FD-A98E-4C2F-84C5-6DFF29824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7" y="275521"/>
            <a:ext cx="9453175" cy="713232"/>
          </a:xfrm>
        </p:spPr>
        <p:txBody>
          <a:bodyPr/>
          <a:lstStyle/>
          <a:p>
            <a:r>
              <a:rPr lang="en-US"/>
              <a:t>Data Platform 2.0 brings together CVS Health Strategic Data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547717" y="674253"/>
            <a:ext cx="9929137" cy="603145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defRPr/>
            </a:pPr>
            <a:r>
              <a:rPr lang="en-US" sz="2000">
                <a:latin typeface="Arial"/>
                <a:cs typeface="Arial"/>
              </a:rPr>
              <a:t>CVS Health business initiatives need timely, secure, agile, access to connected high-quality data for data centric use ca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96BF9B-2B4E-49C4-AB50-7233596E9903}"/>
              </a:ext>
            </a:extLst>
          </p:cNvPr>
          <p:cNvSpPr/>
          <p:nvPr/>
        </p:nvSpPr>
        <p:spPr bwMode="gray">
          <a:xfrm>
            <a:off x="496451" y="2565654"/>
            <a:ext cx="2117698" cy="9144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Data Availability 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(content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D17A89-2B0C-49F9-9C03-399E9AC5E6EB}"/>
              </a:ext>
            </a:extLst>
          </p:cNvPr>
          <p:cNvSpPr/>
          <p:nvPr/>
        </p:nvSpPr>
        <p:spPr bwMode="gray">
          <a:xfrm>
            <a:off x="402060" y="4358459"/>
            <a:ext cx="2164832" cy="103283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Data Governance &amp; Ownership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(Browse &amp; understand data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6FE4C1-F6E2-4FFA-8204-181656B837A5}"/>
              </a:ext>
            </a:extLst>
          </p:cNvPr>
          <p:cNvSpPr txBox="1"/>
          <p:nvPr/>
        </p:nvSpPr>
        <p:spPr>
          <a:xfrm>
            <a:off x="7825683" y="6179755"/>
            <a:ext cx="1493892" cy="4520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>
                <a:cs typeface="Open Sans Light"/>
              </a:rPr>
              <a:t>Business Intelligence &amp; Report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C8FEBA3-F8EB-4878-8919-9C273CEEC31B}"/>
              </a:ext>
            </a:extLst>
          </p:cNvPr>
          <p:cNvSpPr txBox="1"/>
          <p:nvPr/>
        </p:nvSpPr>
        <p:spPr>
          <a:xfrm>
            <a:off x="4702133" y="6179755"/>
            <a:ext cx="914400" cy="2802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>
                <a:cs typeface="Open Sans Light"/>
              </a:rPr>
              <a:t>Data Scientis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8BF737E-1586-495D-917B-33114CA77DEE}"/>
              </a:ext>
            </a:extLst>
          </p:cNvPr>
          <p:cNvSpPr/>
          <p:nvPr/>
        </p:nvSpPr>
        <p:spPr>
          <a:xfrm>
            <a:off x="2629607" y="2128605"/>
            <a:ext cx="6705949" cy="2600424"/>
          </a:xfrm>
          <a:prstGeom prst="ellipse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7A0116D-E940-4C12-9CE3-F60352A0F892}"/>
              </a:ext>
            </a:extLst>
          </p:cNvPr>
          <p:cNvSpPr/>
          <p:nvPr/>
        </p:nvSpPr>
        <p:spPr>
          <a:xfrm>
            <a:off x="2629607" y="1395884"/>
            <a:ext cx="6590216" cy="34229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CVSH Business Systems</a:t>
            </a:r>
          </a:p>
        </p:txBody>
      </p:sp>
      <p:sp>
        <p:nvSpPr>
          <p:cNvPr id="41" name="Arrow: Down 40">
            <a:extLst>
              <a:ext uri="{FF2B5EF4-FFF2-40B4-BE49-F238E27FC236}">
                <a16:creationId xmlns:a16="http://schemas.microsoft.com/office/drawing/2014/main" id="{7ECAD467-D83B-403A-9782-A76B4D001411}"/>
              </a:ext>
            </a:extLst>
          </p:cNvPr>
          <p:cNvSpPr/>
          <p:nvPr/>
        </p:nvSpPr>
        <p:spPr>
          <a:xfrm>
            <a:off x="5787604" y="1734040"/>
            <a:ext cx="703958" cy="421674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7610374-4149-45CC-BDE3-C75E2780046E}"/>
              </a:ext>
            </a:extLst>
          </p:cNvPr>
          <p:cNvSpPr txBox="1"/>
          <p:nvPr/>
        </p:nvSpPr>
        <p:spPr>
          <a:xfrm>
            <a:off x="5681675" y="3391823"/>
            <a:ext cx="1029131" cy="42369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>
                <a:solidFill>
                  <a:srgbClr val="C00000"/>
                </a:solidFill>
                <a:cs typeface="Open Sans Light"/>
              </a:rPr>
              <a:t>Integrated Data</a:t>
            </a:r>
          </a:p>
        </p:txBody>
      </p:sp>
      <p:pic>
        <p:nvPicPr>
          <p:cNvPr id="26" name="Picture 28">
            <a:extLst>
              <a:ext uri="{FF2B5EF4-FFF2-40B4-BE49-F238E27FC236}">
                <a16:creationId xmlns:a16="http://schemas.microsoft.com/office/drawing/2014/main" id="{4F17529F-5D60-4FF1-9629-C807AEF1384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6283" t="46909" r="62707" b="29270"/>
          <a:stretch/>
        </p:blipFill>
        <p:spPr>
          <a:xfrm>
            <a:off x="6566533" y="5555764"/>
            <a:ext cx="612648" cy="6771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0509887-44D9-438F-B7B0-5A034A730860}"/>
              </a:ext>
            </a:extLst>
          </p:cNvPr>
          <p:cNvSpPr/>
          <p:nvPr/>
        </p:nvSpPr>
        <p:spPr>
          <a:xfrm>
            <a:off x="3244738" y="6179755"/>
            <a:ext cx="857927" cy="46166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/>
            <a:r>
              <a:rPr lang="en-US" sz="1200">
                <a:cs typeface="Arial"/>
              </a:rPr>
              <a:t>Data</a:t>
            </a:r>
          </a:p>
          <a:p>
            <a:pPr algn="ctr"/>
            <a:r>
              <a:rPr lang="en-US" sz="1200">
                <a:cs typeface="Arial"/>
              </a:rPr>
              <a:t>Discovery</a:t>
            </a:r>
          </a:p>
        </p:txBody>
      </p:sp>
      <p:pic>
        <p:nvPicPr>
          <p:cNvPr id="46" name="Picture 28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F074760D-6E9E-47A6-8CD6-BEA80746CCA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7173" t="46592" r="34555" b="29011"/>
          <a:stretch/>
        </p:blipFill>
        <p:spPr>
          <a:xfrm>
            <a:off x="8161200" y="5555764"/>
            <a:ext cx="644026" cy="640080"/>
          </a:xfrm>
          <a:prstGeom prst="rect">
            <a:avLst/>
          </a:prstGeom>
        </p:spPr>
      </p:pic>
      <p:pic>
        <p:nvPicPr>
          <p:cNvPr id="47" name="Picture 28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ED902118-894C-482E-8D8B-775D73939E7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62827" t="70909" r="7310" b="7636"/>
          <a:stretch/>
        </p:blipFill>
        <p:spPr>
          <a:xfrm>
            <a:off x="4726588" y="5555764"/>
            <a:ext cx="857926" cy="640080"/>
          </a:xfrm>
          <a:prstGeom prst="rect">
            <a:avLst/>
          </a:prstGeom>
        </p:spPr>
      </p:pic>
      <p:pic>
        <p:nvPicPr>
          <p:cNvPr id="48" name="Picture 28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75A3EBE9-6B4E-4D90-8192-436865A504C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236" t="24000" r="64921" b="54182"/>
          <a:stretch/>
        </p:blipFill>
        <p:spPr>
          <a:xfrm>
            <a:off x="3374237" y="5555764"/>
            <a:ext cx="752883" cy="640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3EC97A82-2930-40D6-97C8-A0B6D58D95CC}"/>
              </a:ext>
            </a:extLst>
          </p:cNvPr>
          <p:cNvSpPr/>
          <p:nvPr/>
        </p:nvSpPr>
        <p:spPr>
          <a:xfrm>
            <a:off x="5867107" y="6179755"/>
            <a:ext cx="1366837" cy="493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B1EC69-A3B3-49E7-A7CE-791680732E45}"/>
              </a:ext>
            </a:extLst>
          </p:cNvPr>
          <p:cNvSpPr/>
          <p:nvPr/>
        </p:nvSpPr>
        <p:spPr>
          <a:xfrm>
            <a:off x="6216001" y="6179755"/>
            <a:ext cx="1010213" cy="46166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algn="ctr"/>
            <a:r>
              <a:rPr lang="en-US" sz="1200">
                <a:cs typeface="Arial"/>
              </a:rPr>
              <a:t>Analytical</a:t>
            </a:r>
          </a:p>
          <a:p>
            <a:pPr algn="ctr"/>
            <a:r>
              <a:rPr lang="en-US" sz="1200">
                <a:cs typeface="Arial"/>
              </a:rPr>
              <a:t>Applications</a:t>
            </a:r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0FA6E47B-BAD7-4B42-97DC-8F3FD3F6391A}"/>
              </a:ext>
            </a:extLst>
          </p:cNvPr>
          <p:cNvSpPr/>
          <p:nvPr/>
        </p:nvSpPr>
        <p:spPr>
          <a:xfrm rot="10800000">
            <a:off x="5770218" y="5190662"/>
            <a:ext cx="689207" cy="677098"/>
          </a:xfrm>
          <a:prstGeom prst="downArrow">
            <a:avLst>
              <a:gd name="adj1" fmla="val 50000"/>
              <a:gd name="adj2" fmla="val 41245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Open Sans Bold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DCAC7E8-C8DD-43EB-A09B-EB975C3FFE54}"/>
              </a:ext>
            </a:extLst>
          </p:cNvPr>
          <p:cNvSpPr/>
          <p:nvPr/>
        </p:nvSpPr>
        <p:spPr>
          <a:xfrm>
            <a:off x="2566891" y="4794636"/>
            <a:ext cx="6752683" cy="34229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  <a:latin typeface="+mj-lt"/>
                <a:cs typeface="Open Sans Bold"/>
              </a:rPr>
              <a:t>Data Catalog/ Data Lifecycle Manage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7CA335-61BB-4ADC-91B7-5A3C8D2D705E}"/>
              </a:ext>
            </a:extLst>
          </p:cNvPr>
          <p:cNvSpPr/>
          <p:nvPr/>
        </p:nvSpPr>
        <p:spPr bwMode="gray">
          <a:xfrm>
            <a:off x="9335556" y="2565654"/>
            <a:ext cx="2454383" cy="74630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ommon Data available to all businesses, consistent with known qualit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022981A-63BE-4D89-8E2F-1B09D3B8899B}"/>
              </a:ext>
            </a:extLst>
          </p:cNvPr>
          <p:cNvSpPr/>
          <p:nvPr/>
        </p:nvSpPr>
        <p:spPr bwMode="gray">
          <a:xfrm>
            <a:off x="9335556" y="4358458"/>
            <a:ext cx="2454383" cy="103283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Allow self service solutions for business to access data for business decision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28B24E-0C4E-4988-8A43-7546F88AEBFF}"/>
              </a:ext>
            </a:extLst>
          </p:cNvPr>
          <p:cNvSpPr/>
          <p:nvPr/>
        </p:nvSpPr>
        <p:spPr bwMode="gray">
          <a:xfrm>
            <a:off x="9359574" y="3583618"/>
            <a:ext cx="2454383" cy="33078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Manage for compliance </a:t>
            </a:r>
          </a:p>
        </p:txBody>
      </p:sp>
    </p:spTree>
    <p:extLst>
      <p:ext uri="{BB962C8B-B14F-4D97-AF65-F5344CB8AC3E}">
        <p14:creationId xmlns:p14="http://schemas.microsoft.com/office/powerpoint/2010/main" val="1075671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of the CTO - Architecture North Star - November 2018 - FINAL.pptx" id="{74D27882-546D-4ED4-8176-EE27A56B1590}" vid="{E34C24D4-3811-4876-B3CE-F3AFC0925035}"/>
    </a:ext>
  </a:extLst>
</a:theme>
</file>

<file path=ppt/theme/theme2.xml><?xml version="1.0" encoding="utf-8"?>
<a:theme xmlns:a="http://schemas.openxmlformats.org/drawingml/2006/main" name="1_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b="1" dirty="0" smtClean="0">
            <a:latin typeface="Open Sans Bold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of the CTO - Architecture North Star - November 2018 - FINAL.pptx" id="{74D27882-546D-4ED4-8176-EE27A56B1590}" vid="{62F7CF2E-6E01-4DC3-B11C-2461CBF2CDBE}"/>
    </a:ext>
  </a:extLst>
</a:theme>
</file>

<file path=ppt/theme/theme3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-CTO - Architecture North Star - CVS Branding.pptx" id="{05C07844-3F35-4F11-BBF3-724A791BE966}" vid="{B306906B-35CC-4E23-A621-C136A9274E91}"/>
    </a:ext>
  </a:extLst>
</a:theme>
</file>

<file path=ppt/theme/theme4.xml><?xml version="1.0" encoding="utf-8"?>
<a:theme xmlns:a="http://schemas.openxmlformats.org/drawingml/2006/main" name="1_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PPT_Everyday_Widescreen_Template_2020.pptx" id="{6AC818C0-4AF3-4469-BA42-0C4533F0DE57}" vid="{F67BA8A2-F2B9-4412-8885-ADAD747BB7A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4F0FD7-590D-477C-84D8-04F64A55F94D}">
  <ds:schemaRefs>
    <ds:schemaRef ds:uri="b1cf5257-8992-498b-aff9-2ccb2706890d"/>
    <ds:schemaRef ds:uri="f8f3ac21-d33a-4f17-9d4e-9f9f14b93e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EB4F26-6E7B-4AA4-BAB9-EC71B150C0A0}"/>
</file>

<file path=docProps/app.xml><?xml version="1.0" encoding="utf-8"?>
<Properties xmlns="http://schemas.openxmlformats.org/officeDocument/2006/extended-properties" xmlns:vt="http://schemas.openxmlformats.org/officeDocument/2006/docPropsVTypes">
  <Template>Office of the CTO - Architecture North Star - November 2018 - FINAL</Template>
  <Application>Microsoft Office PowerPoint</Application>
  <PresentationFormat>Widescreen</PresentationFormat>
  <Slides>37</Slides>
  <Notes>24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37</vt:i4>
      </vt:variant>
    </vt:vector>
  </HeadingPairs>
  <TitlesOfParts>
    <vt:vector size="41" baseType="lpstr">
      <vt:lpstr>OfficeoftheCTO_theme_100218</vt:lpstr>
      <vt:lpstr>1_OfficeoftheCTO_theme_100218</vt:lpstr>
      <vt:lpstr>CVS_Health_PPT_Everyday_Widescreen_Template</vt:lpstr>
      <vt:lpstr>1_CVS_Health_PPT_Everyday_Widescreen_Template</vt:lpstr>
      <vt:lpstr>Architecture North Star</vt:lpstr>
      <vt:lpstr>Advancing CVS Health’s Data Platform 2.0  </vt:lpstr>
      <vt:lpstr>Business Opportunity</vt:lpstr>
      <vt:lpstr>Data Platform 2.0 is a critical enabler and enhancer of CVSH’s strategic imperatives</vt:lpstr>
      <vt:lpstr>Data Platform: Charter</vt:lpstr>
      <vt:lpstr>Data Platform 2.0 Business Capabilities Defined </vt:lpstr>
      <vt:lpstr>What is Data Platform 2.0 ? </vt:lpstr>
      <vt:lpstr>CVS Health's Evolution to the Data Platform 2.0</vt:lpstr>
      <vt:lpstr>Data Platform 2.0 brings together CVS Health Strategic Data </vt:lpstr>
      <vt:lpstr>Where are we today?</vt:lpstr>
      <vt:lpstr>Where are we today continued?</vt:lpstr>
      <vt:lpstr>Current Initiatives</vt:lpstr>
      <vt:lpstr>Where are we today?</vt:lpstr>
      <vt:lpstr>What does Success look like?</vt:lpstr>
      <vt:lpstr>What does Success look like?</vt:lpstr>
      <vt:lpstr>Enabling Business with self service access to data</vt:lpstr>
      <vt:lpstr>Data Platform 2.0 Business Capabilities</vt:lpstr>
      <vt:lpstr>What does Success look like?</vt:lpstr>
      <vt:lpstr>What does Success look like?</vt:lpstr>
      <vt:lpstr>Data Platform Consumption Patterns</vt:lpstr>
      <vt:lpstr>What does Success look like?</vt:lpstr>
      <vt:lpstr>What does Success look like?</vt:lpstr>
      <vt:lpstr>Necessary Action (1 of  2)</vt:lpstr>
      <vt:lpstr>Necessary Action (2 of  2)</vt:lpstr>
      <vt:lpstr>Preliminary Data Platform Product Roadmap</vt:lpstr>
      <vt:lpstr>Next Steps</vt:lpstr>
      <vt:lpstr>PowerPoint Presentation</vt:lpstr>
      <vt:lpstr>Data Platform would be governed and managed by three groups</vt:lpstr>
      <vt:lpstr>The platform operating model will ensure that we deliver functionality that Business Units need to achieve BU objectives and Transformation priorities</vt:lpstr>
      <vt:lpstr>Data Platform Product Council will provide a variety of perspectives </vt:lpstr>
      <vt:lpstr>Data Platform Operating Model Overview </vt:lpstr>
      <vt:lpstr>Data Platform 2.0 Business Capabilities Defined </vt:lpstr>
      <vt:lpstr>PowerPoint Presentation</vt:lpstr>
      <vt:lpstr>Contributors</vt:lpstr>
      <vt:lpstr>PowerPoint Presentation</vt:lpstr>
      <vt:lpstr>PowerPoint Presentation</vt:lpstr>
      <vt:lpstr>Data Platform Consumption Pattern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Platform An ecosystem that consists of a collection of technologies and functionality to enable a Single Source of Truth for Systems of Insight</dc:title>
  <dc:creator>Hickey, Claudette</dc:creator>
  <cp:revision>1</cp:revision>
  <cp:lastPrinted>2017-04-13T12:11:49Z</cp:lastPrinted>
  <dcterms:created xsi:type="dcterms:W3CDTF">2020-02-04T18:45:07Z</dcterms:created>
  <dcterms:modified xsi:type="dcterms:W3CDTF">2020-06-12T15:3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294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  <property fmtid="{D5CDD505-2E9C-101B-9397-08002B2CF9AE}" pid="14" name="AuthorIds_UIVersion_512">
    <vt:lpwstr>23</vt:lpwstr>
  </property>
  <property fmtid="{D5CDD505-2E9C-101B-9397-08002B2CF9AE}" pid="15" name="xd_Signature">
    <vt:bool>false</vt:bool>
  </property>
  <property fmtid="{D5CDD505-2E9C-101B-9397-08002B2CF9AE}" pid="16" name="xd_ProgID">
    <vt:lpwstr/>
  </property>
  <property fmtid="{D5CDD505-2E9C-101B-9397-08002B2CF9AE}" pid="17" name="TemplateUrl">
    <vt:lpwstr/>
  </property>
  <property fmtid="{D5CDD505-2E9C-101B-9397-08002B2CF9AE}" pid="18" name="ItemStatus">
    <vt:lpwstr/>
  </property>
</Properties>
</file>